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9" r:id="rId5"/>
  </p:sldMasterIdLst>
  <p:notesMasterIdLst>
    <p:notesMasterId r:id="rId33"/>
  </p:notesMasterIdLst>
  <p:sldIdLst>
    <p:sldId id="359" r:id="rId6"/>
    <p:sldId id="373" r:id="rId7"/>
    <p:sldId id="377" r:id="rId8"/>
    <p:sldId id="378" r:id="rId9"/>
    <p:sldId id="380" r:id="rId10"/>
    <p:sldId id="287" r:id="rId11"/>
    <p:sldId id="285" r:id="rId12"/>
    <p:sldId id="283" r:id="rId13"/>
    <p:sldId id="256" r:id="rId14"/>
    <p:sldId id="288" r:id="rId15"/>
    <p:sldId id="286" r:id="rId16"/>
    <p:sldId id="289" r:id="rId17"/>
    <p:sldId id="381" r:id="rId18"/>
    <p:sldId id="382" r:id="rId19"/>
    <p:sldId id="383" r:id="rId20"/>
    <p:sldId id="384" r:id="rId21"/>
    <p:sldId id="385" r:id="rId22"/>
    <p:sldId id="386" r:id="rId23"/>
    <p:sldId id="387" r:id="rId24"/>
    <p:sldId id="391" r:id="rId25"/>
    <p:sldId id="388" r:id="rId26"/>
    <p:sldId id="392" r:id="rId27"/>
    <p:sldId id="393" r:id="rId28"/>
    <p:sldId id="3564" r:id="rId29"/>
    <p:sldId id="3565" r:id="rId30"/>
    <p:sldId id="3566" r:id="rId31"/>
    <p:sldId id="374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0B8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5" autoAdjust="0"/>
    <p:restoredTop sz="79808"/>
  </p:normalViewPr>
  <p:slideViewPr>
    <p:cSldViewPr snapToGrid="0">
      <p:cViewPr varScale="1">
        <p:scale>
          <a:sx n="59" d="100"/>
          <a:sy n="59" d="100"/>
        </p:scale>
        <p:origin x="10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2A809C-B794-4972-9DA6-998B040A7D93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0A8C0B6-C12B-4E40-8B8C-4E10A72B7E26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 challenge targeted by the intervention accurately </a:t>
          </a:r>
          <a:r>
            <a:rPr lang="en-US" sz="1400" b="1" i="0" dirty="0">
              <a:solidFill>
                <a:schemeClr val="bg1"/>
              </a:solidFill>
              <a:latin typeface="Aptos Display" panose="020B0004020202020204" pitchFamily="34" charset="0"/>
            </a:rPr>
            <a:t>identified as </a:t>
          </a:r>
          <a:r>
            <a:rPr lang="en-US" sz="1400" b="1" i="0" dirty="0">
              <a:latin typeface="Aptos Display" panose="020B0004020202020204" pitchFamily="34" charset="0"/>
            </a:rPr>
            <a:t>a means of achieving the desired outcome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17EECFFF-8B87-4936-8982-D0639E3458EA}" type="parTrans" cxnId="{D2F9E92B-B2F2-4797-B991-816A58D993CF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376A74FD-39D3-48B9-9E04-14BDAFDCC413}" type="sibTrans" cxnId="{D2F9E92B-B2F2-4797-B991-816A58D993CF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E6603A63-B855-4FC1-A35E-AA68536F14B4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 intervention selected appropriate to address the challenges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C52BE6EF-1104-4E20-8C22-ED1911195CC3}" type="parTrans" cxnId="{9D6057B6-686A-4A31-AB2F-C4118A300FFA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CEC22518-4C64-4E88-BEE0-12B62326DB91}" type="sibTrans" cxnId="{9D6057B6-686A-4A31-AB2F-C4118A300FFA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4E6D19C2-9199-4AB4-BB19-555C7917CC76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 scope of the intervention too large, too limiting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836480F1-4E02-4968-8988-4BBF067C6F93}" type="parTrans" cxnId="{C5AAE81F-E999-4F6F-81D8-0671E86784A5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3A149125-6509-4D04-A179-EFA5AA9F95E7}" type="sibTrans" cxnId="{C5AAE81F-E999-4F6F-81D8-0671E86784A5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CBA18210-A492-4198-8B54-B03DCBF3831D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 implementation timeframe appropriate or limiting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7E3AC448-2A94-4136-92EA-C424845C161F}" type="parTrans" cxnId="{0CF85E61-AC19-405D-A062-2B2E177216F2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896FED9E-073A-4BB0-86EB-4765E4F644E4}" type="sibTrans" cxnId="{0CF85E61-AC19-405D-A062-2B2E177216F2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FC04FE8F-E4D2-441B-B8DF-4A192ED073C9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ere there delays in implementation?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D2682E1D-51B9-453F-9325-62DE8D9EFA18}" type="parTrans" cxnId="{9A24A381-708C-4E22-BB16-53700C4483C4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A2F99109-161D-4BEE-A57F-5DB1578D52B0}" type="sibTrans" cxnId="{9A24A381-708C-4E22-BB16-53700C4483C4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8D624111-7F94-4532-A663-C588B28DA99F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ere sufficient human, financial, and capital resources available to support effective implementation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32231E30-B88F-4109-A879-17D6A2B9BABC}" type="parTrans" cxnId="{6CB30EA0-BB47-4FC4-815C-C938850C052C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4517D855-CD4E-45DD-B89F-5FEAEC082C83}" type="sibTrans" cxnId="{6CB30EA0-BB47-4FC4-815C-C938850C052C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39A3CB6A-2DAC-4727-BCEF-C5F8BDAB7379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echnical support available as needed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2D1C6968-52FB-4F53-8DA3-B0D5561143CD}" type="parTrans" cxnId="{63F5DC0A-6E0A-4CBD-81DF-DBCD8ABF00AC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ECF0EA87-3D80-4BE9-B230-F54BAB5B278D}" type="sibTrans" cxnId="{63F5DC0A-6E0A-4CBD-81DF-DBCD8ABF00AC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78DCACDC-D097-4406-B226-94AA7C8F74AD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Did resources have sufficient capacity to be effective?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2351AA6D-D0D8-40FF-85F4-1E0D9C7D2F33}" type="parTrans" cxnId="{8B50AC90-66FE-4A6E-A9C8-58F43B138CFA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1EB7EBF1-FF8E-4ACF-ABDB-6AA3025BE026}" type="sibTrans" cxnId="{8B50AC90-66FE-4A6E-A9C8-58F43B138CFA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D12B5824-1873-4FF8-8206-A898191484F9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>
              <a:latin typeface="Aptos Display" panose="020B0004020202020204" pitchFamily="34" charset="0"/>
            </a:rPr>
            <a:t>Were stakeholders sufficiently supportive/engaged?</a:t>
          </a:r>
          <a:endParaRPr lang="en-US" sz="1400" b="1">
            <a:latin typeface="Aptos Display" panose="020B0004020202020204" pitchFamily="34" charset="0"/>
          </a:endParaRPr>
        </a:p>
      </dgm:t>
    </dgm:pt>
    <dgm:pt modelId="{526B9FD4-FD8A-4D5B-8304-5537B0EFFFF1}" type="parTrans" cxnId="{E086EBE6-22BA-4876-A788-D4E4482E181D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B2CB433F-1D6F-49C1-9B98-CE9A34DB1475}" type="sibTrans" cxnId="{E086EBE6-22BA-4876-A788-D4E4482E181D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83000D2E-D607-435E-B40A-4E02613A159D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Did implementation go as planned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A178D7C5-F529-41E2-982E-43FF5801849A}" type="parTrans" cxnId="{064B7C9E-317A-4157-9228-278C97E32F94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6E8EA476-5762-466D-81BC-BAC0B9DD5C48}" type="sibTrans" cxnId="{064B7C9E-317A-4157-9228-278C97E32F94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5D9FB177-E3EA-4066-8F5D-CCB9A20631D2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ere there elements of implementation performance that were particularly strong or weak which impacted effectiveness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E9B43992-6155-4B27-9C65-612421516068}" type="parTrans" cxnId="{49EED621-7F76-479C-B76D-AC9AFF268AAE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127C09D1-5893-4795-B894-9DBC00DFA88A}" type="sibTrans" cxnId="{49EED621-7F76-479C-B76D-AC9AFF268AAE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EE60C76F-A1B2-4CED-A57F-FE96EDEDE505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ere the monitoring and measurement tools effective in capturing the intervention’s outcome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83C1AD34-12CE-4D34-98C3-EE3101539381}" type="parTrans" cxnId="{1192F200-854B-4B25-85B8-743F961625D5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A64B2408-304B-4195-B402-4F172D6C0316}" type="sibTrans" cxnId="{1192F200-854B-4B25-85B8-743F961625D5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35F55F04-0049-4900-B629-E37CA6BDAD16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re sufficient time to measure the outcome of interventions in the WUENIC 2024 results or other key routine measurement tools?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E658193F-334F-4B46-8497-963AC4A2E982}" type="parTrans" cxnId="{00AA677B-7DEA-448B-8174-BEBB298228AE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D3E40DF8-7328-469D-AF93-51801CE5E3BA}" type="sibTrans" cxnId="{00AA677B-7DEA-448B-8174-BEBB298228AE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4ADA50D8-87E2-9445-B6C7-B034F8EBEC08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 i="0" dirty="0">
              <a:latin typeface="Aptos Display" panose="020B0004020202020204" pitchFamily="34" charset="0"/>
            </a:rPr>
            <a:t>Was the intervention selected appropriate to achieve the desired outcome? </a:t>
          </a:r>
          <a:endParaRPr lang="en-US" sz="1400" b="1" dirty="0">
            <a:latin typeface="Aptos Display" panose="020B0004020202020204" pitchFamily="34" charset="0"/>
          </a:endParaRPr>
        </a:p>
      </dgm:t>
    </dgm:pt>
    <dgm:pt modelId="{A6E3B9D3-D165-6740-98E8-E6A2E29A039E}" type="parTrans" cxnId="{FF6D4182-F831-D749-830D-653ECE9E150D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0CCAA7F3-74A1-1845-B3F9-4962108DDD93}" type="sibTrans" cxnId="{FF6D4182-F831-D749-830D-653ECE9E150D}">
      <dgm:prSet/>
      <dgm:spPr/>
      <dgm:t>
        <a:bodyPr/>
        <a:lstStyle/>
        <a:p>
          <a:endParaRPr lang="en-US" sz="4000">
            <a:latin typeface="Aptos Display" panose="020B0004020202020204" pitchFamily="34" charset="0"/>
          </a:endParaRPr>
        </a:p>
      </dgm:t>
    </dgm:pt>
    <dgm:pt modelId="{1741B114-92C4-D44D-880E-A46E35A85A39}" type="pres">
      <dgm:prSet presAssocID="{E62A809C-B794-4972-9DA6-998B040A7D93}" presName="diagram" presStyleCnt="0">
        <dgm:presLayoutVars>
          <dgm:dir/>
          <dgm:resizeHandles val="exact"/>
        </dgm:presLayoutVars>
      </dgm:prSet>
      <dgm:spPr/>
    </dgm:pt>
    <dgm:pt modelId="{CF3E6BD9-EE76-174D-8522-14A32617510B}" type="pres">
      <dgm:prSet presAssocID="{D0A8C0B6-C12B-4E40-8B8C-4E10A72B7E26}" presName="node" presStyleLbl="node1" presStyleIdx="0" presStyleCnt="14">
        <dgm:presLayoutVars>
          <dgm:bulletEnabled val="1"/>
        </dgm:presLayoutVars>
      </dgm:prSet>
      <dgm:spPr/>
    </dgm:pt>
    <dgm:pt modelId="{42EAA303-1FD6-0946-B229-9CFC3D46127C}" type="pres">
      <dgm:prSet presAssocID="{376A74FD-39D3-48B9-9E04-14BDAFDCC413}" presName="sibTrans" presStyleCnt="0"/>
      <dgm:spPr/>
    </dgm:pt>
    <dgm:pt modelId="{CD610DC4-306E-9C45-9493-0098D7884CF7}" type="pres">
      <dgm:prSet presAssocID="{E6603A63-B855-4FC1-A35E-AA68536F14B4}" presName="node" presStyleLbl="node1" presStyleIdx="1" presStyleCnt="14">
        <dgm:presLayoutVars>
          <dgm:bulletEnabled val="1"/>
        </dgm:presLayoutVars>
      </dgm:prSet>
      <dgm:spPr/>
    </dgm:pt>
    <dgm:pt modelId="{5CE6D9DF-DE37-3642-8168-D32506437678}" type="pres">
      <dgm:prSet presAssocID="{CEC22518-4C64-4E88-BEE0-12B62326DB91}" presName="sibTrans" presStyleCnt="0"/>
      <dgm:spPr/>
    </dgm:pt>
    <dgm:pt modelId="{523DB6FD-34F2-9540-903B-DC6DCAF5A615}" type="pres">
      <dgm:prSet presAssocID="{4ADA50D8-87E2-9445-B6C7-B034F8EBEC08}" presName="node" presStyleLbl="node1" presStyleIdx="2" presStyleCnt="14">
        <dgm:presLayoutVars>
          <dgm:bulletEnabled val="1"/>
        </dgm:presLayoutVars>
      </dgm:prSet>
      <dgm:spPr/>
    </dgm:pt>
    <dgm:pt modelId="{6BFD09AC-B47B-5543-BA60-7F97CF6F1D0D}" type="pres">
      <dgm:prSet presAssocID="{0CCAA7F3-74A1-1845-B3F9-4962108DDD93}" presName="sibTrans" presStyleCnt="0"/>
      <dgm:spPr/>
    </dgm:pt>
    <dgm:pt modelId="{51DCCA55-69AB-2649-95B3-22C138896E4D}" type="pres">
      <dgm:prSet presAssocID="{4E6D19C2-9199-4AB4-BB19-555C7917CC76}" presName="node" presStyleLbl="node1" presStyleIdx="3" presStyleCnt="14">
        <dgm:presLayoutVars>
          <dgm:bulletEnabled val="1"/>
        </dgm:presLayoutVars>
      </dgm:prSet>
      <dgm:spPr/>
    </dgm:pt>
    <dgm:pt modelId="{F41E5D5C-9479-5143-8B35-6FF701D1C9EB}" type="pres">
      <dgm:prSet presAssocID="{3A149125-6509-4D04-A179-EFA5AA9F95E7}" presName="sibTrans" presStyleCnt="0"/>
      <dgm:spPr/>
    </dgm:pt>
    <dgm:pt modelId="{16B829BD-340A-B24D-9759-911C81281932}" type="pres">
      <dgm:prSet presAssocID="{CBA18210-A492-4198-8B54-B03DCBF3831D}" presName="node" presStyleLbl="node1" presStyleIdx="4" presStyleCnt="14">
        <dgm:presLayoutVars>
          <dgm:bulletEnabled val="1"/>
        </dgm:presLayoutVars>
      </dgm:prSet>
      <dgm:spPr/>
    </dgm:pt>
    <dgm:pt modelId="{6676A158-9515-B04B-B155-DB6D3D39CA66}" type="pres">
      <dgm:prSet presAssocID="{896FED9E-073A-4BB0-86EB-4765E4F644E4}" presName="sibTrans" presStyleCnt="0"/>
      <dgm:spPr/>
    </dgm:pt>
    <dgm:pt modelId="{99748122-733F-0A42-8779-492601F7E8B8}" type="pres">
      <dgm:prSet presAssocID="{FC04FE8F-E4D2-441B-B8DF-4A192ED073C9}" presName="node" presStyleLbl="node1" presStyleIdx="5" presStyleCnt="14">
        <dgm:presLayoutVars>
          <dgm:bulletEnabled val="1"/>
        </dgm:presLayoutVars>
      </dgm:prSet>
      <dgm:spPr/>
    </dgm:pt>
    <dgm:pt modelId="{35890F5C-FADD-294A-8730-1C34CEDB5CB4}" type="pres">
      <dgm:prSet presAssocID="{A2F99109-161D-4BEE-A57F-5DB1578D52B0}" presName="sibTrans" presStyleCnt="0"/>
      <dgm:spPr/>
    </dgm:pt>
    <dgm:pt modelId="{92511E75-E2E0-2B4E-A0E6-EAB15D8696C0}" type="pres">
      <dgm:prSet presAssocID="{8D624111-7F94-4532-A663-C588B28DA99F}" presName="node" presStyleLbl="node1" presStyleIdx="6" presStyleCnt="14">
        <dgm:presLayoutVars>
          <dgm:bulletEnabled val="1"/>
        </dgm:presLayoutVars>
      </dgm:prSet>
      <dgm:spPr/>
    </dgm:pt>
    <dgm:pt modelId="{D04F1DF5-440C-A24F-8C52-851BCB60143E}" type="pres">
      <dgm:prSet presAssocID="{4517D855-CD4E-45DD-B89F-5FEAEC082C83}" presName="sibTrans" presStyleCnt="0"/>
      <dgm:spPr/>
    </dgm:pt>
    <dgm:pt modelId="{0F3C8F79-EF70-4C47-A85C-FCA40061E711}" type="pres">
      <dgm:prSet presAssocID="{39A3CB6A-2DAC-4727-BCEF-C5F8BDAB7379}" presName="node" presStyleLbl="node1" presStyleIdx="7" presStyleCnt="14">
        <dgm:presLayoutVars>
          <dgm:bulletEnabled val="1"/>
        </dgm:presLayoutVars>
      </dgm:prSet>
      <dgm:spPr/>
    </dgm:pt>
    <dgm:pt modelId="{DB90EBBF-ABC4-A545-B85E-12CA51AB99DE}" type="pres">
      <dgm:prSet presAssocID="{ECF0EA87-3D80-4BE9-B230-F54BAB5B278D}" presName="sibTrans" presStyleCnt="0"/>
      <dgm:spPr/>
    </dgm:pt>
    <dgm:pt modelId="{6B22628E-D316-724C-BD40-493D54820BE6}" type="pres">
      <dgm:prSet presAssocID="{78DCACDC-D097-4406-B226-94AA7C8F74AD}" presName="node" presStyleLbl="node1" presStyleIdx="8" presStyleCnt="14">
        <dgm:presLayoutVars>
          <dgm:bulletEnabled val="1"/>
        </dgm:presLayoutVars>
      </dgm:prSet>
      <dgm:spPr/>
    </dgm:pt>
    <dgm:pt modelId="{A34AED3E-9BB3-4B4D-8325-1FC86B75233C}" type="pres">
      <dgm:prSet presAssocID="{1EB7EBF1-FF8E-4ACF-ABDB-6AA3025BE026}" presName="sibTrans" presStyleCnt="0"/>
      <dgm:spPr/>
    </dgm:pt>
    <dgm:pt modelId="{26EE34D7-DEB4-A746-A315-6FEDEE6D6C46}" type="pres">
      <dgm:prSet presAssocID="{D12B5824-1873-4FF8-8206-A898191484F9}" presName="node" presStyleLbl="node1" presStyleIdx="9" presStyleCnt="14">
        <dgm:presLayoutVars>
          <dgm:bulletEnabled val="1"/>
        </dgm:presLayoutVars>
      </dgm:prSet>
      <dgm:spPr/>
    </dgm:pt>
    <dgm:pt modelId="{6736BB07-E044-3D44-A008-879447842E4E}" type="pres">
      <dgm:prSet presAssocID="{B2CB433F-1D6F-49C1-9B98-CE9A34DB1475}" presName="sibTrans" presStyleCnt="0"/>
      <dgm:spPr/>
    </dgm:pt>
    <dgm:pt modelId="{8942E4FB-0853-6C4B-94F4-2B6F263C9D8D}" type="pres">
      <dgm:prSet presAssocID="{83000D2E-D607-435E-B40A-4E02613A159D}" presName="node" presStyleLbl="node1" presStyleIdx="10" presStyleCnt="14">
        <dgm:presLayoutVars>
          <dgm:bulletEnabled val="1"/>
        </dgm:presLayoutVars>
      </dgm:prSet>
      <dgm:spPr/>
    </dgm:pt>
    <dgm:pt modelId="{FA6CA4CF-0599-2B41-B83C-95A765698C31}" type="pres">
      <dgm:prSet presAssocID="{6E8EA476-5762-466D-81BC-BAC0B9DD5C48}" presName="sibTrans" presStyleCnt="0"/>
      <dgm:spPr/>
    </dgm:pt>
    <dgm:pt modelId="{AD2F1A32-13DB-3F4E-A4B4-029582BD95ED}" type="pres">
      <dgm:prSet presAssocID="{5D9FB177-E3EA-4066-8F5D-CCB9A20631D2}" presName="node" presStyleLbl="node1" presStyleIdx="11" presStyleCnt="14">
        <dgm:presLayoutVars>
          <dgm:bulletEnabled val="1"/>
        </dgm:presLayoutVars>
      </dgm:prSet>
      <dgm:spPr/>
    </dgm:pt>
    <dgm:pt modelId="{C53AD060-6A6B-1D4C-B711-FFA52F2D81E6}" type="pres">
      <dgm:prSet presAssocID="{127C09D1-5893-4795-B894-9DBC00DFA88A}" presName="sibTrans" presStyleCnt="0"/>
      <dgm:spPr/>
    </dgm:pt>
    <dgm:pt modelId="{52C1AC3E-F3C3-BC41-A501-527D0BA616E3}" type="pres">
      <dgm:prSet presAssocID="{EE60C76F-A1B2-4CED-A57F-FE96EDEDE505}" presName="node" presStyleLbl="node1" presStyleIdx="12" presStyleCnt="14">
        <dgm:presLayoutVars>
          <dgm:bulletEnabled val="1"/>
        </dgm:presLayoutVars>
      </dgm:prSet>
      <dgm:spPr/>
    </dgm:pt>
    <dgm:pt modelId="{58F22768-647E-474D-8827-C847F211B0E3}" type="pres">
      <dgm:prSet presAssocID="{A64B2408-304B-4195-B402-4F172D6C0316}" presName="sibTrans" presStyleCnt="0"/>
      <dgm:spPr/>
    </dgm:pt>
    <dgm:pt modelId="{69F740C7-A87E-F849-9C57-5C490F50C627}" type="pres">
      <dgm:prSet presAssocID="{35F55F04-0049-4900-B629-E37CA6BDAD16}" presName="node" presStyleLbl="node1" presStyleIdx="13" presStyleCnt="14">
        <dgm:presLayoutVars>
          <dgm:bulletEnabled val="1"/>
        </dgm:presLayoutVars>
      </dgm:prSet>
      <dgm:spPr/>
    </dgm:pt>
  </dgm:ptLst>
  <dgm:cxnLst>
    <dgm:cxn modelId="{1192F200-854B-4B25-85B8-743F961625D5}" srcId="{E62A809C-B794-4972-9DA6-998B040A7D93}" destId="{EE60C76F-A1B2-4CED-A57F-FE96EDEDE505}" srcOrd="12" destOrd="0" parTransId="{83C1AD34-12CE-4D34-98C3-EE3101539381}" sibTransId="{A64B2408-304B-4195-B402-4F172D6C0316}"/>
    <dgm:cxn modelId="{B34D6106-04E2-F849-A0C9-649450B9B64B}" type="presOf" srcId="{8D624111-7F94-4532-A663-C588B28DA99F}" destId="{92511E75-E2E0-2B4E-A0E6-EAB15D8696C0}" srcOrd="0" destOrd="0" presId="urn:microsoft.com/office/officeart/2005/8/layout/default"/>
    <dgm:cxn modelId="{63F5DC0A-6E0A-4CBD-81DF-DBCD8ABF00AC}" srcId="{E62A809C-B794-4972-9DA6-998B040A7D93}" destId="{39A3CB6A-2DAC-4727-BCEF-C5F8BDAB7379}" srcOrd="7" destOrd="0" parTransId="{2D1C6968-52FB-4F53-8DA3-B0D5561143CD}" sibTransId="{ECF0EA87-3D80-4BE9-B230-F54BAB5B278D}"/>
    <dgm:cxn modelId="{C5AAE81F-E999-4F6F-81D8-0671E86784A5}" srcId="{E62A809C-B794-4972-9DA6-998B040A7D93}" destId="{4E6D19C2-9199-4AB4-BB19-555C7917CC76}" srcOrd="3" destOrd="0" parTransId="{836480F1-4E02-4968-8988-4BBF067C6F93}" sibTransId="{3A149125-6509-4D04-A179-EFA5AA9F95E7}"/>
    <dgm:cxn modelId="{49EED621-7F76-479C-B76D-AC9AFF268AAE}" srcId="{E62A809C-B794-4972-9DA6-998B040A7D93}" destId="{5D9FB177-E3EA-4066-8F5D-CCB9A20631D2}" srcOrd="11" destOrd="0" parTransId="{E9B43992-6155-4B27-9C65-612421516068}" sibTransId="{127C09D1-5893-4795-B894-9DBC00DFA88A}"/>
    <dgm:cxn modelId="{07B08A28-C888-8644-837C-2DA8A386D8C2}" type="presOf" srcId="{4ADA50D8-87E2-9445-B6C7-B034F8EBEC08}" destId="{523DB6FD-34F2-9540-903B-DC6DCAF5A615}" srcOrd="0" destOrd="0" presId="urn:microsoft.com/office/officeart/2005/8/layout/default"/>
    <dgm:cxn modelId="{C898332B-0CE8-854D-AFAB-42D5762F86CF}" type="presOf" srcId="{D12B5824-1873-4FF8-8206-A898191484F9}" destId="{26EE34D7-DEB4-A746-A315-6FEDEE6D6C46}" srcOrd="0" destOrd="0" presId="urn:microsoft.com/office/officeart/2005/8/layout/default"/>
    <dgm:cxn modelId="{D2F9E92B-B2F2-4797-B991-816A58D993CF}" srcId="{E62A809C-B794-4972-9DA6-998B040A7D93}" destId="{D0A8C0B6-C12B-4E40-8B8C-4E10A72B7E26}" srcOrd="0" destOrd="0" parTransId="{17EECFFF-8B87-4936-8982-D0639E3458EA}" sibTransId="{376A74FD-39D3-48B9-9E04-14BDAFDCC413}"/>
    <dgm:cxn modelId="{CF608A38-D50D-5D43-99B4-271FF381EC26}" type="presOf" srcId="{35F55F04-0049-4900-B629-E37CA6BDAD16}" destId="{69F740C7-A87E-F849-9C57-5C490F50C627}" srcOrd="0" destOrd="0" presId="urn:microsoft.com/office/officeart/2005/8/layout/default"/>
    <dgm:cxn modelId="{5E73593F-F438-134F-B048-67A6CF7B13EA}" type="presOf" srcId="{D0A8C0B6-C12B-4E40-8B8C-4E10A72B7E26}" destId="{CF3E6BD9-EE76-174D-8522-14A32617510B}" srcOrd="0" destOrd="0" presId="urn:microsoft.com/office/officeart/2005/8/layout/default"/>
    <dgm:cxn modelId="{0CF85E61-AC19-405D-A062-2B2E177216F2}" srcId="{E62A809C-B794-4972-9DA6-998B040A7D93}" destId="{CBA18210-A492-4198-8B54-B03DCBF3831D}" srcOrd="4" destOrd="0" parTransId="{7E3AC448-2A94-4136-92EA-C424845C161F}" sibTransId="{896FED9E-073A-4BB0-86EB-4765E4F644E4}"/>
    <dgm:cxn modelId="{8D99E645-4298-1A4D-8CD5-78343943761D}" type="presOf" srcId="{83000D2E-D607-435E-B40A-4E02613A159D}" destId="{8942E4FB-0853-6C4B-94F4-2B6F263C9D8D}" srcOrd="0" destOrd="0" presId="urn:microsoft.com/office/officeart/2005/8/layout/default"/>
    <dgm:cxn modelId="{0F3EFD75-5786-4441-B219-FFACE97BFCE9}" type="presOf" srcId="{4E6D19C2-9199-4AB4-BB19-555C7917CC76}" destId="{51DCCA55-69AB-2649-95B3-22C138896E4D}" srcOrd="0" destOrd="0" presId="urn:microsoft.com/office/officeart/2005/8/layout/default"/>
    <dgm:cxn modelId="{2E3CB379-8A77-FB4A-AEBF-AE83B84E8241}" type="presOf" srcId="{E62A809C-B794-4972-9DA6-998B040A7D93}" destId="{1741B114-92C4-D44D-880E-A46E35A85A39}" srcOrd="0" destOrd="0" presId="urn:microsoft.com/office/officeart/2005/8/layout/default"/>
    <dgm:cxn modelId="{00AA677B-7DEA-448B-8174-BEBB298228AE}" srcId="{E62A809C-B794-4972-9DA6-998B040A7D93}" destId="{35F55F04-0049-4900-B629-E37CA6BDAD16}" srcOrd="13" destOrd="0" parTransId="{E658193F-334F-4B46-8497-963AC4A2E982}" sibTransId="{D3E40DF8-7328-469D-AF93-51801CE5E3BA}"/>
    <dgm:cxn modelId="{9A24A381-708C-4E22-BB16-53700C4483C4}" srcId="{E62A809C-B794-4972-9DA6-998B040A7D93}" destId="{FC04FE8F-E4D2-441B-B8DF-4A192ED073C9}" srcOrd="5" destOrd="0" parTransId="{D2682E1D-51B9-453F-9325-62DE8D9EFA18}" sibTransId="{A2F99109-161D-4BEE-A57F-5DB1578D52B0}"/>
    <dgm:cxn modelId="{FF6D4182-F831-D749-830D-653ECE9E150D}" srcId="{E62A809C-B794-4972-9DA6-998B040A7D93}" destId="{4ADA50D8-87E2-9445-B6C7-B034F8EBEC08}" srcOrd="2" destOrd="0" parTransId="{A6E3B9D3-D165-6740-98E8-E6A2E29A039E}" sibTransId="{0CCAA7F3-74A1-1845-B3F9-4962108DDD93}"/>
    <dgm:cxn modelId="{8B50AC90-66FE-4A6E-A9C8-58F43B138CFA}" srcId="{E62A809C-B794-4972-9DA6-998B040A7D93}" destId="{78DCACDC-D097-4406-B226-94AA7C8F74AD}" srcOrd="8" destOrd="0" parTransId="{2351AA6D-D0D8-40FF-85F4-1E0D9C7D2F33}" sibTransId="{1EB7EBF1-FF8E-4ACF-ABDB-6AA3025BE026}"/>
    <dgm:cxn modelId="{602C7C96-EE8D-934A-8348-6FB84915A5CF}" type="presOf" srcId="{CBA18210-A492-4198-8B54-B03DCBF3831D}" destId="{16B829BD-340A-B24D-9759-911C81281932}" srcOrd="0" destOrd="0" presId="urn:microsoft.com/office/officeart/2005/8/layout/default"/>
    <dgm:cxn modelId="{064B7C9E-317A-4157-9228-278C97E32F94}" srcId="{E62A809C-B794-4972-9DA6-998B040A7D93}" destId="{83000D2E-D607-435E-B40A-4E02613A159D}" srcOrd="10" destOrd="0" parTransId="{A178D7C5-F529-41E2-982E-43FF5801849A}" sibTransId="{6E8EA476-5762-466D-81BC-BAC0B9DD5C48}"/>
    <dgm:cxn modelId="{6CB30EA0-BB47-4FC4-815C-C938850C052C}" srcId="{E62A809C-B794-4972-9DA6-998B040A7D93}" destId="{8D624111-7F94-4532-A663-C588B28DA99F}" srcOrd="6" destOrd="0" parTransId="{32231E30-B88F-4109-A879-17D6A2B9BABC}" sibTransId="{4517D855-CD4E-45DD-B89F-5FEAEC082C83}"/>
    <dgm:cxn modelId="{EB57C3AA-95BC-FE48-8585-BE618E96A824}" type="presOf" srcId="{E6603A63-B855-4FC1-A35E-AA68536F14B4}" destId="{CD610DC4-306E-9C45-9493-0098D7884CF7}" srcOrd="0" destOrd="0" presId="urn:microsoft.com/office/officeart/2005/8/layout/default"/>
    <dgm:cxn modelId="{9D6057B6-686A-4A31-AB2F-C4118A300FFA}" srcId="{E62A809C-B794-4972-9DA6-998B040A7D93}" destId="{E6603A63-B855-4FC1-A35E-AA68536F14B4}" srcOrd="1" destOrd="0" parTransId="{C52BE6EF-1104-4E20-8C22-ED1911195CC3}" sibTransId="{CEC22518-4C64-4E88-BEE0-12B62326DB91}"/>
    <dgm:cxn modelId="{AFEB7DD4-B1D3-0C4B-82DC-B2DA37AA4EE7}" type="presOf" srcId="{EE60C76F-A1B2-4CED-A57F-FE96EDEDE505}" destId="{52C1AC3E-F3C3-BC41-A501-527D0BA616E3}" srcOrd="0" destOrd="0" presId="urn:microsoft.com/office/officeart/2005/8/layout/default"/>
    <dgm:cxn modelId="{45C6C5D6-D457-4049-8EE7-F6D7EB99B772}" type="presOf" srcId="{FC04FE8F-E4D2-441B-B8DF-4A192ED073C9}" destId="{99748122-733F-0A42-8779-492601F7E8B8}" srcOrd="0" destOrd="0" presId="urn:microsoft.com/office/officeart/2005/8/layout/default"/>
    <dgm:cxn modelId="{D823A3D9-B61A-F64F-9682-58E234F7DE9B}" type="presOf" srcId="{78DCACDC-D097-4406-B226-94AA7C8F74AD}" destId="{6B22628E-D316-724C-BD40-493D54820BE6}" srcOrd="0" destOrd="0" presId="urn:microsoft.com/office/officeart/2005/8/layout/default"/>
    <dgm:cxn modelId="{EF2A70E1-DB23-2F49-86C5-78184C1B0B4C}" type="presOf" srcId="{39A3CB6A-2DAC-4727-BCEF-C5F8BDAB7379}" destId="{0F3C8F79-EF70-4C47-A85C-FCA40061E711}" srcOrd="0" destOrd="0" presId="urn:microsoft.com/office/officeart/2005/8/layout/default"/>
    <dgm:cxn modelId="{E086EBE6-22BA-4876-A788-D4E4482E181D}" srcId="{E62A809C-B794-4972-9DA6-998B040A7D93}" destId="{D12B5824-1873-4FF8-8206-A898191484F9}" srcOrd="9" destOrd="0" parTransId="{526B9FD4-FD8A-4D5B-8304-5537B0EFFFF1}" sibTransId="{B2CB433F-1D6F-49C1-9B98-CE9A34DB1475}"/>
    <dgm:cxn modelId="{3471F2F2-F11E-C14E-A7A6-1099D46A10B9}" type="presOf" srcId="{5D9FB177-E3EA-4066-8F5D-CCB9A20631D2}" destId="{AD2F1A32-13DB-3F4E-A4B4-029582BD95ED}" srcOrd="0" destOrd="0" presId="urn:microsoft.com/office/officeart/2005/8/layout/default"/>
    <dgm:cxn modelId="{F14273BF-5E1F-4348-8DEF-505321257DAB}" type="presParOf" srcId="{1741B114-92C4-D44D-880E-A46E35A85A39}" destId="{CF3E6BD9-EE76-174D-8522-14A32617510B}" srcOrd="0" destOrd="0" presId="urn:microsoft.com/office/officeart/2005/8/layout/default"/>
    <dgm:cxn modelId="{ABBECC0F-8AA4-A147-8411-CFA353AEB29A}" type="presParOf" srcId="{1741B114-92C4-D44D-880E-A46E35A85A39}" destId="{42EAA303-1FD6-0946-B229-9CFC3D46127C}" srcOrd="1" destOrd="0" presId="urn:microsoft.com/office/officeart/2005/8/layout/default"/>
    <dgm:cxn modelId="{5D6F81CC-4983-1A45-90B4-5B0901C4DFC1}" type="presParOf" srcId="{1741B114-92C4-D44D-880E-A46E35A85A39}" destId="{CD610DC4-306E-9C45-9493-0098D7884CF7}" srcOrd="2" destOrd="0" presId="urn:microsoft.com/office/officeart/2005/8/layout/default"/>
    <dgm:cxn modelId="{274EA0EF-0685-634C-B98A-552C141804CE}" type="presParOf" srcId="{1741B114-92C4-D44D-880E-A46E35A85A39}" destId="{5CE6D9DF-DE37-3642-8168-D32506437678}" srcOrd="3" destOrd="0" presId="urn:microsoft.com/office/officeart/2005/8/layout/default"/>
    <dgm:cxn modelId="{20CD5F97-8044-E34E-B486-F69D1459BD23}" type="presParOf" srcId="{1741B114-92C4-D44D-880E-A46E35A85A39}" destId="{523DB6FD-34F2-9540-903B-DC6DCAF5A615}" srcOrd="4" destOrd="0" presId="urn:microsoft.com/office/officeart/2005/8/layout/default"/>
    <dgm:cxn modelId="{A8B79462-3E3C-9344-BBB3-BC0E0259613B}" type="presParOf" srcId="{1741B114-92C4-D44D-880E-A46E35A85A39}" destId="{6BFD09AC-B47B-5543-BA60-7F97CF6F1D0D}" srcOrd="5" destOrd="0" presId="urn:microsoft.com/office/officeart/2005/8/layout/default"/>
    <dgm:cxn modelId="{7FEFCB0B-ED38-744C-B786-9306ACF95550}" type="presParOf" srcId="{1741B114-92C4-D44D-880E-A46E35A85A39}" destId="{51DCCA55-69AB-2649-95B3-22C138896E4D}" srcOrd="6" destOrd="0" presId="urn:microsoft.com/office/officeart/2005/8/layout/default"/>
    <dgm:cxn modelId="{8B360150-90EB-4445-96F3-A5AEE5D81D2D}" type="presParOf" srcId="{1741B114-92C4-D44D-880E-A46E35A85A39}" destId="{F41E5D5C-9479-5143-8B35-6FF701D1C9EB}" srcOrd="7" destOrd="0" presId="urn:microsoft.com/office/officeart/2005/8/layout/default"/>
    <dgm:cxn modelId="{46AE5917-93D7-8A4C-9697-01E548DBB245}" type="presParOf" srcId="{1741B114-92C4-D44D-880E-A46E35A85A39}" destId="{16B829BD-340A-B24D-9759-911C81281932}" srcOrd="8" destOrd="0" presId="urn:microsoft.com/office/officeart/2005/8/layout/default"/>
    <dgm:cxn modelId="{342DA7C9-E7D2-2843-83ED-67AA0A0E9C36}" type="presParOf" srcId="{1741B114-92C4-D44D-880E-A46E35A85A39}" destId="{6676A158-9515-B04B-B155-DB6D3D39CA66}" srcOrd="9" destOrd="0" presId="urn:microsoft.com/office/officeart/2005/8/layout/default"/>
    <dgm:cxn modelId="{4658F946-44EF-794E-8DCD-A4F500E4AE67}" type="presParOf" srcId="{1741B114-92C4-D44D-880E-A46E35A85A39}" destId="{99748122-733F-0A42-8779-492601F7E8B8}" srcOrd="10" destOrd="0" presId="urn:microsoft.com/office/officeart/2005/8/layout/default"/>
    <dgm:cxn modelId="{58B6F779-29DC-D34A-9A15-8D0F261C7095}" type="presParOf" srcId="{1741B114-92C4-D44D-880E-A46E35A85A39}" destId="{35890F5C-FADD-294A-8730-1C34CEDB5CB4}" srcOrd="11" destOrd="0" presId="urn:microsoft.com/office/officeart/2005/8/layout/default"/>
    <dgm:cxn modelId="{CB316F56-DF75-C446-8AF0-0F3E48C20698}" type="presParOf" srcId="{1741B114-92C4-D44D-880E-A46E35A85A39}" destId="{92511E75-E2E0-2B4E-A0E6-EAB15D8696C0}" srcOrd="12" destOrd="0" presId="urn:microsoft.com/office/officeart/2005/8/layout/default"/>
    <dgm:cxn modelId="{6776174F-F340-C348-BD52-50BAFA1DC152}" type="presParOf" srcId="{1741B114-92C4-D44D-880E-A46E35A85A39}" destId="{D04F1DF5-440C-A24F-8C52-851BCB60143E}" srcOrd="13" destOrd="0" presId="urn:microsoft.com/office/officeart/2005/8/layout/default"/>
    <dgm:cxn modelId="{2D8F0D27-A1A1-0448-86B8-6048280D4803}" type="presParOf" srcId="{1741B114-92C4-D44D-880E-A46E35A85A39}" destId="{0F3C8F79-EF70-4C47-A85C-FCA40061E711}" srcOrd="14" destOrd="0" presId="urn:microsoft.com/office/officeart/2005/8/layout/default"/>
    <dgm:cxn modelId="{67E8AF79-1005-9B49-AFF0-821ADC714E4D}" type="presParOf" srcId="{1741B114-92C4-D44D-880E-A46E35A85A39}" destId="{DB90EBBF-ABC4-A545-B85E-12CA51AB99DE}" srcOrd="15" destOrd="0" presId="urn:microsoft.com/office/officeart/2005/8/layout/default"/>
    <dgm:cxn modelId="{917C02EC-6E7E-304B-B97D-CC82C3B9F7E5}" type="presParOf" srcId="{1741B114-92C4-D44D-880E-A46E35A85A39}" destId="{6B22628E-D316-724C-BD40-493D54820BE6}" srcOrd="16" destOrd="0" presId="urn:microsoft.com/office/officeart/2005/8/layout/default"/>
    <dgm:cxn modelId="{CB4803E5-D7C3-134B-A1D7-C155E25D8483}" type="presParOf" srcId="{1741B114-92C4-D44D-880E-A46E35A85A39}" destId="{A34AED3E-9BB3-4B4D-8325-1FC86B75233C}" srcOrd="17" destOrd="0" presId="urn:microsoft.com/office/officeart/2005/8/layout/default"/>
    <dgm:cxn modelId="{AAF513C5-B707-A449-850C-4DA0BDB3BF66}" type="presParOf" srcId="{1741B114-92C4-D44D-880E-A46E35A85A39}" destId="{26EE34D7-DEB4-A746-A315-6FEDEE6D6C46}" srcOrd="18" destOrd="0" presId="urn:microsoft.com/office/officeart/2005/8/layout/default"/>
    <dgm:cxn modelId="{71010E35-CD9D-D643-8C85-C1D333AEF33F}" type="presParOf" srcId="{1741B114-92C4-D44D-880E-A46E35A85A39}" destId="{6736BB07-E044-3D44-A008-879447842E4E}" srcOrd="19" destOrd="0" presId="urn:microsoft.com/office/officeart/2005/8/layout/default"/>
    <dgm:cxn modelId="{70869B46-323F-C140-BB6E-83C3E587CB4B}" type="presParOf" srcId="{1741B114-92C4-D44D-880E-A46E35A85A39}" destId="{8942E4FB-0853-6C4B-94F4-2B6F263C9D8D}" srcOrd="20" destOrd="0" presId="urn:microsoft.com/office/officeart/2005/8/layout/default"/>
    <dgm:cxn modelId="{9376BC43-2B93-8141-A6AE-6EEF4929F645}" type="presParOf" srcId="{1741B114-92C4-D44D-880E-A46E35A85A39}" destId="{FA6CA4CF-0599-2B41-B83C-95A765698C31}" srcOrd="21" destOrd="0" presId="urn:microsoft.com/office/officeart/2005/8/layout/default"/>
    <dgm:cxn modelId="{3A928D7A-6965-B94B-8188-EC92287DA062}" type="presParOf" srcId="{1741B114-92C4-D44D-880E-A46E35A85A39}" destId="{AD2F1A32-13DB-3F4E-A4B4-029582BD95ED}" srcOrd="22" destOrd="0" presId="urn:microsoft.com/office/officeart/2005/8/layout/default"/>
    <dgm:cxn modelId="{D6BB2ECC-F112-9340-BCB4-0859716C87DB}" type="presParOf" srcId="{1741B114-92C4-D44D-880E-A46E35A85A39}" destId="{C53AD060-6A6B-1D4C-B711-FFA52F2D81E6}" srcOrd="23" destOrd="0" presId="urn:microsoft.com/office/officeart/2005/8/layout/default"/>
    <dgm:cxn modelId="{D3782C71-B076-3C41-AEC1-460E4B4AFD85}" type="presParOf" srcId="{1741B114-92C4-D44D-880E-A46E35A85A39}" destId="{52C1AC3E-F3C3-BC41-A501-527D0BA616E3}" srcOrd="24" destOrd="0" presId="urn:microsoft.com/office/officeart/2005/8/layout/default"/>
    <dgm:cxn modelId="{526F61F6-7DE4-A442-A2B9-965B616800B4}" type="presParOf" srcId="{1741B114-92C4-D44D-880E-A46E35A85A39}" destId="{58F22768-647E-474D-8827-C847F211B0E3}" srcOrd="25" destOrd="0" presId="urn:microsoft.com/office/officeart/2005/8/layout/default"/>
    <dgm:cxn modelId="{C654BE97-5981-F04E-A834-0D39676B14F9}" type="presParOf" srcId="{1741B114-92C4-D44D-880E-A46E35A85A39}" destId="{69F740C7-A87E-F849-9C57-5C490F50C627}" srcOrd="26" destOrd="0" presId="urn:microsoft.com/office/officeart/2005/8/layout/defaul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3E6BD9-EE76-174D-8522-14A32617510B}">
      <dsp:nvSpPr>
        <dsp:cNvPr id="0" name=""/>
        <dsp:cNvSpPr/>
      </dsp:nvSpPr>
      <dsp:spPr>
        <a:xfrm>
          <a:off x="4167" y="766365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 challenge targeted by the intervention accurately </a:t>
          </a:r>
          <a:r>
            <a:rPr lang="en-US" sz="1400" b="1" i="0" kern="1200" dirty="0">
              <a:solidFill>
                <a:schemeClr val="bg1"/>
              </a:solidFill>
              <a:latin typeface="Aptos Display" panose="020B0004020202020204" pitchFamily="34" charset="0"/>
            </a:rPr>
            <a:t>identified as </a:t>
          </a:r>
          <a:r>
            <a:rPr lang="en-US" sz="1400" b="1" i="0" kern="1200" dirty="0">
              <a:latin typeface="Aptos Display" panose="020B0004020202020204" pitchFamily="34" charset="0"/>
            </a:rPr>
            <a:t>a means of achieving the desired outcome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4167" y="766365"/>
        <a:ext cx="2256234" cy="1353740"/>
      </dsp:txXfrm>
    </dsp:sp>
    <dsp:sp modelId="{CD610DC4-306E-9C45-9493-0098D7884CF7}">
      <dsp:nvSpPr>
        <dsp:cNvPr id="0" name=""/>
        <dsp:cNvSpPr/>
      </dsp:nvSpPr>
      <dsp:spPr>
        <a:xfrm>
          <a:off x="2486025" y="766365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 intervention selected appropriate to address the challenges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2486025" y="766365"/>
        <a:ext cx="2256234" cy="1353740"/>
      </dsp:txXfrm>
    </dsp:sp>
    <dsp:sp modelId="{523DB6FD-34F2-9540-903B-DC6DCAF5A615}">
      <dsp:nvSpPr>
        <dsp:cNvPr id="0" name=""/>
        <dsp:cNvSpPr/>
      </dsp:nvSpPr>
      <dsp:spPr>
        <a:xfrm>
          <a:off x="4967882" y="766365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 intervention selected appropriate to achieve the desired outcome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4967882" y="766365"/>
        <a:ext cx="2256234" cy="1353740"/>
      </dsp:txXfrm>
    </dsp:sp>
    <dsp:sp modelId="{51DCCA55-69AB-2649-95B3-22C138896E4D}">
      <dsp:nvSpPr>
        <dsp:cNvPr id="0" name=""/>
        <dsp:cNvSpPr/>
      </dsp:nvSpPr>
      <dsp:spPr>
        <a:xfrm>
          <a:off x="7449740" y="766365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 scope of the intervention too large, too limiting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7449740" y="766365"/>
        <a:ext cx="2256234" cy="1353740"/>
      </dsp:txXfrm>
    </dsp:sp>
    <dsp:sp modelId="{16B829BD-340A-B24D-9759-911C81281932}">
      <dsp:nvSpPr>
        <dsp:cNvPr id="0" name=""/>
        <dsp:cNvSpPr/>
      </dsp:nvSpPr>
      <dsp:spPr>
        <a:xfrm>
          <a:off x="9931598" y="766365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 implementation timeframe appropriate or limiting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9931598" y="766365"/>
        <a:ext cx="2256234" cy="1353740"/>
      </dsp:txXfrm>
    </dsp:sp>
    <dsp:sp modelId="{99748122-733F-0A42-8779-492601F7E8B8}">
      <dsp:nvSpPr>
        <dsp:cNvPr id="0" name=""/>
        <dsp:cNvSpPr/>
      </dsp:nvSpPr>
      <dsp:spPr>
        <a:xfrm>
          <a:off x="4167" y="2345729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ere there delays in implementation?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4167" y="2345729"/>
        <a:ext cx="2256234" cy="1353740"/>
      </dsp:txXfrm>
    </dsp:sp>
    <dsp:sp modelId="{92511E75-E2E0-2B4E-A0E6-EAB15D8696C0}">
      <dsp:nvSpPr>
        <dsp:cNvPr id="0" name=""/>
        <dsp:cNvSpPr/>
      </dsp:nvSpPr>
      <dsp:spPr>
        <a:xfrm>
          <a:off x="2486025" y="2345729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ere sufficient human, financial, and capital resources available to support effective implementation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2486025" y="2345729"/>
        <a:ext cx="2256234" cy="1353740"/>
      </dsp:txXfrm>
    </dsp:sp>
    <dsp:sp modelId="{0F3C8F79-EF70-4C47-A85C-FCA40061E711}">
      <dsp:nvSpPr>
        <dsp:cNvPr id="0" name=""/>
        <dsp:cNvSpPr/>
      </dsp:nvSpPr>
      <dsp:spPr>
        <a:xfrm>
          <a:off x="4967882" y="2345729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echnical support available as needed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4967882" y="2345729"/>
        <a:ext cx="2256234" cy="1353740"/>
      </dsp:txXfrm>
    </dsp:sp>
    <dsp:sp modelId="{6B22628E-D316-724C-BD40-493D54820BE6}">
      <dsp:nvSpPr>
        <dsp:cNvPr id="0" name=""/>
        <dsp:cNvSpPr/>
      </dsp:nvSpPr>
      <dsp:spPr>
        <a:xfrm>
          <a:off x="7449740" y="2345729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Did resources have sufficient capacity to be effective?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7449740" y="2345729"/>
        <a:ext cx="2256234" cy="1353740"/>
      </dsp:txXfrm>
    </dsp:sp>
    <dsp:sp modelId="{26EE34D7-DEB4-A746-A315-6FEDEE6D6C46}">
      <dsp:nvSpPr>
        <dsp:cNvPr id="0" name=""/>
        <dsp:cNvSpPr/>
      </dsp:nvSpPr>
      <dsp:spPr>
        <a:xfrm>
          <a:off x="9931598" y="2345729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latin typeface="Aptos Display" panose="020B0004020202020204" pitchFamily="34" charset="0"/>
            </a:rPr>
            <a:t>Were stakeholders sufficiently supportive/engaged?</a:t>
          </a:r>
          <a:endParaRPr lang="en-US" sz="1400" b="1" kern="1200">
            <a:latin typeface="Aptos Display" panose="020B0004020202020204" pitchFamily="34" charset="0"/>
          </a:endParaRPr>
        </a:p>
      </dsp:txBody>
      <dsp:txXfrm>
        <a:off x="9931598" y="2345729"/>
        <a:ext cx="2256234" cy="1353740"/>
      </dsp:txXfrm>
    </dsp:sp>
    <dsp:sp modelId="{8942E4FB-0853-6C4B-94F4-2B6F263C9D8D}">
      <dsp:nvSpPr>
        <dsp:cNvPr id="0" name=""/>
        <dsp:cNvSpPr/>
      </dsp:nvSpPr>
      <dsp:spPr>
        <a:xfrm>
          <a:off x="1245096" y="3925093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Did implementation go as planned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1245096" y="3925093"/>
        <a:ext cx="2256234" cy="1353740"/>
      </dsp:txXfrm>
    </dsp:sp>
    <dsp:sp modelId="{AD2F1A32-13DB-3F4E-A4B4-029582BD95ED}">
      <dsp:nvSpPr>
        <dsp:cNvPr id="0" name=""/>
        <dsp:cNvSpPr/>
      </dsp:nvSpPr>
      <dsp:spPr>
        <a:xfrm>
          <a:off x="3726953" y="3925093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ere there elements of implementation performance that were particularly strong or weak which impacted effectiveness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3726953" y="3925093"/>
        <a:ext cx="2256234" cy="1353740"/>
      </dsp:txXfrm>
    </dsp:sp>
    <dsp:sp modelId="{52C1AC3E-F3C3-BC41-A501-527D0BA616E3}">
      <dsp:nvSpPr>
        <dsp:cNvPr id="0" name=""/>
        <dsp:cNvSpPr/>
      </dsp:nvSpPr>
      <dsp:spPr>
        <a:xfrm>
          <a:off x="6208811" y="3925093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ere the monitoring and measurement tools effective in capturing the intervention’s outcome? 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6208811" y="3925093"/>
        <a:ext cx="2256234" cy="1353740"/>
      </dsp:txXfrm>
    </dsp:sp>
    <dsp:sp modelId="{69F740C7-A87E-F849-9C57-5C490F50C627}">
      <dsp:nvSpPr>
        <dsp:cNvPr id="0" name=""/>
        <dsp:cNvSpPr/>
      </dsp:nvSpPr>
      <dsp:spPr>
        <a:xfrm>
          <a:off x="8690669" y="3925093"/>
          <a:ext cx="2256234" cy="1353740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Aptos Display" panose="020B0004020202020204" pitchFamily="34" charset="0"/>
            </a:rPr>
            <a:t>Was there sufficient time to measure the outcome of interventions in the WUENIC 2024 results or other key routine measurement tools?</a:t>
          </a:r>
          <a:endParaRPr lang="en-US" sz="1400" b="1" kern="1200" dirty="0">
            <a:latin typeface="Aptos Display" panose="020B0004020202020204" pitchFamily="34" charset="0"/>
          </a:endParaRPr>
        </a:p>
      </dsp:txBody>
      <dsp:txXfrm>
        <a:off x="8690669" y="3925093"/>
        <a:ext cx="2256234" cy="13537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E5160-FBFE-46B3-8966-792633D71EBE}" type="datetimeFigureOut">
              <a:rPr lang="en-US" smtClean="0"/>
              <a:t>10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305D75-986B-436C-96B6-B1ABE670B6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426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0" name="Google Shape;3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2384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der the </a:t>
            </a:r>
            <a:r>
              <a:rPr lang="en-US" dirty="0" err="1"/>
              <a:t>immunisation</a:t>
            </a:r>
            <a:r>
              <a:rPr lang="en-US" dirty="0"/>
              <a:t> </a:t>
            </a:r>
            <a:r>
              <a:rPr lang="en-US" dirty="0" err="1"/>
              <a:t>programme</a:t>
            </a:r>
            <a:r>
              <a:rPr lang="en-US" dirty="0"/>
              <a:t> and system outcomes that contribute to impact.  Beyond completing implementation of an interven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305D75-986B-436C-96B6-B1ABE670B61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416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urn to Zunera for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305D75-986B-436C-96B6-B1ABE670B61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1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sk #3: Map each barrier to the stages of implementation</a:t>
            </a:r>
          </a:p>
          <a:p>
            <a:r>
              <a:rPr lang="en-US" dirty="0"/>
              <a:t>Definition = the challenge or need to be address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305D75-986B-436C-96B6-B1ABE670B61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500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55365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1200" y="2209800"/>
            <a:ext cx="8331200" cy="609600"/>
          </a:xfrm>
        </p:spPr>
        <p:txBody>
          <a:bodyPr>
            <a:noAutofit/>
          </a:bodyPr>
          <a:lstStyle>
            <a:lvl1pPr marL="0" indent="0" algn="l">
              <a:buNone/>
              <a:defRPr sz="3200" b="0" i="0">
                <a:solidFill>
                  <a:srgbClr val="FFFFFF"/>
                </a:solidFill>
                <a:latin typeface="+mn-lt"/>
                <a:cs typeface="Museo Sans 50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11200" y="3124200"/>
            <a:ext cx="5791200" cy="1447800"/>
          </a:xfrm>
          <a:noFill/>
        </p:spPr>
        <p:txBody>
          <a:bodyPr/>
          <a:lstStyle>
            <a:lvl1pPr marL="0" marR="0" indent="-342891" algn="l" defTabSz="914377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solidFill>
                  <a:srgbClr val="FFFFFF"/>
                </a:solidFill>
                <a:latin typeface="+mn-lt"/>
                <a:cs typeface="Museo Slab 300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891" marR="0" lvl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11200" y="4877477"/>
            <a:ext cx="9753600" cy="304800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4EF63-55A6-4F45-9DCF-4DDF12899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9CAF67-8369-4CDE-A804-85259A5876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58605" y="5884784"/>
            <a:ext cx="2823795" cy="78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57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15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marL="0" indent="0"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31D734-4300-47A2-A962-F31C5614D844}"/>
              </a:ext>
            </a:extLst>
          </p:cNvPr>
          <p:cNvCxnSpPr>
            <a:cxnSpLocks/>
          </p:cNvCxnSpPr>
          <p:nvPr userDrawn="1"/>
        </p:nvCxnSpPr>
        <p:spPr>
          <a:xfrm flipV="1">
            <a:off x="949572" y="1165748"/>
            <a:ext cx="10292856" cy="1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81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footer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752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CF15E3D-837B-4067-8ECC-DFEC84DE3E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326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600200"/>
            <a:ext cx="6023550" cy="3697434"/>
          </a:xfrm>
        </p:spPr>
        <p:txBody>
          <a:bodyPr>
            <a:noAutofit/>
          </a:bodyPr>
          <a:lstStyle>
            <a:lvl1pPr marL="457200" indent="-4572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8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77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66" indent="-3429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 marL="2057355" indent="-228600">
              <a:buClr>
                <a:schemeClr val="accent1"/>
              </a:buClr>
              <a:buSzPct val="125000"/>
              <a:buFont typeface="Wingdings" panose="05000000000000000000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473082" y="1600200"/>
            <a:ext cx="3769346" cy="369743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FE4263-DC0A-434C-BBD6-F3976532EDEE}"/>
              </a:ext>
            </a:extLst>
          </p:cNvPr>
          <p:cNvCxnSpPr>
            <a:cxnSpLocks/>
          </p:cNvCxnSpPr>
          <p:nvPr userDrawn="1"/>
        </p:nvCxnSpPr>
        <p:spPr>
          <a:xfrm>
            <a:off x="942957" y="1165761"/>
            <a:ext cx="1029947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D1128394-0C27-4C4A-B659-BC798BFA3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1046"/>
            <a:ext cx="10292856" cy="891111"/>
          </a:xfrm>
        </p:spPr>
        <p:txBody>
          <a:bodyPr lIns="0" bIns="0" anchor="b">
            <a:no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4EF8A1-919F-416D-8465-0BC6FC6E8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475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04475" y="1427308"/>
            <a:ext cx="3929433" cy="4092031"/>
          </a:xfrm>
          <a:ln w="28575" cmpd="sng">
            <a:solidFill>
              <a:srgbClr val="5B513D">
                <a:alpha val="0"/>
              </a:srgbClr>
            </a:solidFill>
          </a:ln>
          <a:effectLst>
            <a:softEdge rad="12700"/>
          </a:effectLst>
        </p:spPr>
        <p:txBody>
          <a:bodyPr/>
          <a:lstStyle>
            <a:lvl1pPr marL="0" indent="0">
              <a:buNone/>
              <a:defRPr sz="3200">
                <a:solidFill>
                  <a:schemeClr val="bg2">
                    <a:lumMod val="85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947367" y="1427308"/>
            <a:ext cx="5857628" cy="45720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D402E9C-7830-4854-95EF-98A57B21C91B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C9ADF9AC-3619-41A8-9B3A-2A49B6683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2620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EF26F8-4E1B-471F-A18D-DEE68CF2B8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266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524000"/>
            <a:ext cx="10292856" cy="3733800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Font typeface="+mj-lt"/>
              <a:buAutoNum type="arabicPeriod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+mj-lt"/>
              <a:buAutoNum type="arabicPeriod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+mj-lt"/>
              <a:buAutoNum type="arabicPeriod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+mj-lt"/>
              <a:buAutoNum type="arabicPeriod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6F6F5A7-5B4B-4BDD-94B6-BA9B2825F313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49"/>
            <a:ext cx="1029285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43DEBD0-78D9-4ED5-92ED-3135BF0E4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1EDF2-D9A7-4347-9487-052A0116F2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199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1524000"/>
            <a:ext cx="10292856" cy="3733800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SzPct val="125000"/>
              <a:buFont typeface="Wingdings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AFE847-FA07-46E5-B65D-208EE251890F}"/>
              </a:ext>
            </a:extLst>
          </p:cNvPr>
          <p:cNvCxnSpPr>
            <a:cxnSpLocks/>
          </p:cNvCxnSpPr>
          <p:nvPr userDrawn="1"/>
        </p:nvCxnSpPr>
        <p:spPr>
          <a:xfrm>
            <a:off x="956179" y="1165761"/>
            <a:ext cx="1028624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8E460D8-27AB-4FB1-A8EA-D31A79A3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D44DDB-D9E8-4920-B140-96D30ACF0E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7269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131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_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8596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870640"/>
            <a:ext cx="10292856" cy="2352364"/>
          </a:xfrm>
        </p:spPr>
        <p:txBody>
          <a:bodyPr>
            <a:noAutofit/>
          </a:bodyPr>
          <a:lstStyle>
            <a:lvl1pPr marL="457189" indent="-457189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1257269" indent="-342891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714457" indent="-342891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949572" y="1539710"/>
            <a:ext cx="10292856" cy="1174353"/>
          </a:xfrm>
          <a:solidFill>
            <a:srgbClr val="636466">
              <a:alpha val="50000"/>
            </a:srgbClr>
          </a:solidFill>
        </p:spPr>
        <p:txBody>
          <a:bodyPr anchor="ctr">
            <a:noAutofit/>
          </a:bodyPr>
          <a:lstStyle>
            <a:lvl1pPr marL="457189" indent="-457189">
              <a:buClr>
                <a:srgbClr val="00A6B6"/>
              </a:buClr>
              <a:buFontTx/>
              <a:buNone/>
              <a:defRPr sz="2800" b="0" i="0" baseline="0">
                <a:solidFill>
                  <a:schemeClr val="bg1"/>
                </a:solidFill>
                <a:latin typeface="+mn-lt"/>
                <a:cs typeface="Museo Slab 300"/>
              </a:defRPr>
            </a:lvl1pPr>
            <a:lvl2pPr marL="800080" indent="-342891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269" indent="-342891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457" indent="-342891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30BEFF-781B-48EA-B2C1-109EC3FC606C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F2F1146-C539-475A-AAD2-F9E06C35D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50024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CAE527-214A-4CEA-AD46-4FD5E0BEEF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92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55615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49572" y="2144902"/>
            <a:ext cx="10632828" cy="1143000"/>
          </a:xfrm>
        </p:spPr>
        <p:txBody>
          <a:bodyPr>
            <a:noAutofit/>
          </a:bodyPr>
          <a:lstStyle>
            <a:lvl1pPr algn="l">
              <a:buFont typeface="Arial" pitchFamily="34" charset="0"/>
              <a:buNone/>
              <a:defRPr sz="4400" b="0" i="0" baseline="0">
                <a:solidFill>
                  <a:srgbClr val="F7F7F7"/>
                </a:solidFill>
                <a:latin typeface="+mj-lt"/>
                <a:cs typeface="Museo Slab 500" panose="02000000000000000000" pitchFamily="50" charset="0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EA8EDA-678A-4ABC-9279-1310FC91E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89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0718D-84B0-4DDB-9CAD-BE090238DE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99379"/>
            <a:ext cx="10972800" cy="1143000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ABEB5AA-F7A8-455A-8F72-C3D991ED11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583323"/>
            <a:ext cx="10972800" cy="609600"/>
          </a:xfrm>
        </p:spPr>
        <p:txBody>
          <a:bodyPr>
            <a:noAutofit/>
          </a:bodyPr>
          <a:lstStyle>
            <a:lvl1pPr algn="ctr">
              <a:buNone/>
              <a:defRPr sz="24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6FAE92-B8B9-442D-8059-BEB0372F7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86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Break_Angl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2">
            <a:extLst>
              <a:ext uri="{FF2B5EF4-FFF2-40B4-BE49-F238E27FC236}">
                <a16:creationId xmlns:a16="http://schemas.microsoft.com/office/drawing/2014/main" id="{8751C015-52C9-4086-AA2F-9BCA2730A13E}"/>
              </a:ext>
            </a:extLst>
          </p:cNvPr>
          <p:cNvSpPr/>
          <p:nvPr userDrawn="1"/>
        </p:nvSpPr>
        <p:spPr>
          <a:xfrm flipH="1">
            <a:off x="3531326" y="0"/>
            <a:ext cx="8660674" cy="6858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49572" y="1815643"/>
            <a:ext cx="6901206" cy="1312911"/>
          </a:xfrm>
        </p:spPr>
        <p:txBody>
          <a:bodyPr>
            <a:noAutofit/>
          </a:bodyPr>
          <a:lstStyle>
            <a:lvl1pPr algn="l">
              <a:buFont typeface="Arial" pitchFamily="34" charset="0"/>
              <a:buNone/>
              <a:defRPr sz="4400" b="0" i="0" baseline="0">
                <a:solidFill>
                  <a:schemeClr val="accent1"/>
                </a:solidFill>
                <a:latin typeface="+mj-lt"/>
                <a:cs typeface="Museo Slab 500" panose="02000000000000000000" pitchFamily="50" charset="0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Museo Sans 300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DA9DC9-5608-4C45-97AC-21F567C06A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7590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t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1390743" y="2178050"/>
            <a:ext cx="9409905" cy="253365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E83AC9-F5BE-4653-AFB3-A1CE76787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17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no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F24D83-658B-4878-A9D5-7F78288CB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678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F24D83-658B-4878-A9D5-7F78288CB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6D4ECF-612B-4525-B4ED-2DBDBAA34259}"/>
              </a:ext>
            </a:extLst>
          </p:cNvPr>
          <p:cNvCxnSpPr>
            <a:cxnSpLocks/>
          </p:cNvCxnSpPr>
          <p:nvPr userDrawn="1"/>
        </p:nvCxnSpPr>
        <p:spPr>
          <a:xfrm>
            <a:off x="947367" y="1165761"/>
            <a:ext cx="102950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4677A7B-E642-4D4A-BD1F-D8F79F8C9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5A051D-3655-474E-BEB4-701C7523C1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7281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nted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920463" y="-31424"/>
            <a:ext cx="7287620" cy="6880280"/>
          </a:xfrm>
          <a:custGeom>
            <a:avLst/>
            <a:gdLst>
              <a:gd name="connsiteX0" fmla="*/ 0 w 14557568"/>
              <a:gd name="connsiteY0" fmla="*/ 13716000 h 13716000"/>
              <a:gd name="connsiteX1" fmla="*/ 0 w 14557568"/>
              <a:gd name="connsiteY1" fmla="*/ 0 h 13716000"/>
              <a:gd name="connsiteX2" fmla="*/ 14557568 w 14557568"/>
              <a:gd name="connsiteY2" fmla="*/ 13716000 h 13716000"/>
              <a:gd name="connsiteX3" fmla="*/ 0 w 14557568"/>
              <a:gd name="connsiteY3" fmla="*/ 13716000 h 13716000"/>
              <a:gd name="connsiteX0" fmla="*/ 0 w 14557568"/>
              <a:gd name="connsiteY0" fmla="*/ 13827399 h 13827399"/>
              <a:gd name="connsiteX1" fmla="*/ 6661869 w 14557568"/>
              <a:gd name="connsiteY1" fmla="*/ 0 h 13827399"/>
              <a:gd name="connsiteX2" fmla="*/ 14557568 w 14557568"/>
              <a:gd name="connsiteY2" fmla="*/ 13827399 h 13827399"/>
              <a:gd name="connsiteX3" fmla="*/ 0 w 14557568"/>
              <a:gd name="connsiteY3" fmla="*/ 13827399 h 13827399"/>
              <a:gd name="connsiteX0" fmla="*/ 0 w 14557568"/>
              <a:gd name="connsiteY0" fmla="*/ 13827399 h 13827399"/>
              <a:gd name="connsiteX1" fmla="*/ 6466965 w 14557568"/>
              <a:gd name="connsiteY1" fmla="*/ 289637 h 13827399"/>
              <a:gd name="connsiteX2" fmla="*/ 6661869 w 14557568"/>
              <a:gd name="connsiteY2" fmla="*/ 0 h 13827399"/>
              <a:gd name="connsiteX3" fmla="*/ 14557568 w 14557568"/>
              <a:gd name="connsiteY3" fmla="*/ 13827399 h 13827399"/>
              <a:gd name="connsiteX4" fmla="*/ 0 w 14557568"/>
              <a:gd name="connsiteY4" fmla="*/ 13827399 h 13827399"/>
              <a:gd name="connsiteX0" fmla="*/ 0 w 14557568"/>
              <a:gd name="connsiteY0" fmla="*/ 13871959 h 13871959"/>
              <a:gd name="connsiteX1" fmla="*/ 6466965 w 14557568"/>
              <a:gd name="connsiteY1" fmla="*/ 334197 h 13871959"/>
              <a:gd name="connsiteX2" fmla="*/ 7419406 w 14557568"/>
              <a:gd name="connsiteY2" fmla="*/ 0 h 13871959"/>
              <a:gd name="connsiteX3" fmla="*/ 14557568 w 14557568"/>
              <a:gd name="connsiteY3" fmla="*/ 13871959 h 13871959"/>
              <a:gd name="connsiteX4" fmla="*/ 0 w 14557568"/>
              <a:gd name="connsiteY4" fmla="*/ 13871959 h 13871959"/>
              <a:gd name="connsiteX0" fmla="*/ 0 w 14557568"/>
              <a:gd name="connsiteY0" fmla="*/ 13871959 h 13871959"/>
              <a:gd name="connsiteX1" fmla="*/ 6556087 w 14557568"/>
              <a:gd name="connsiteY1" fmla="*/ 155959 h 13871959"/>
              <a:gd name="connsiteX2" fmla="*/ 7419406 w 14557568"/>
              <a:gd name="connsiteY2" fmla="*/ 0 h 13871959"/>
              <a:gd name="connsiteX3" fmla="*/ 14557568 w 14557568"/>
              <a:gd name="connsiteY3" fmla="*/ 13871959 h 13871959"/>
              <a:gd name="connsiteX4" fmla="*/ 0 w 14557568"/>
              <a:gd name="connsiteY4" fmla="*/ 13871959 h 13871959"/>
              <a:gd name="connsiteX0" fmla="*/ 0 w 14571445"/>
              <a:gd name="connsiteY0" fmla="*/ 13760560 h 13760560"/>
              <a:gd name="connsiteX1" fmla="*/ 6556087 w 14571445"/>
              <a:gd name="connsiteY1" fmla="*/ 44560 h 13760560"/>
              <a:gd name="connsiteX2" fmla="*/ 14571445 w 14571445"/>
              <a:gd name="connsiteY2" fmla="*/ 0 h 13760560"/>
              <a:gd name="connsiteX3" fmla="*/ 14557568 w 14571445"/>
              <a:gd name="connsiteY3" fmla="*/ 13760560 h 13760560"/>
              <a:gd name="connsiteX4" fmla="*/ 0 w 14571445"/>
              <a:gd name="connsiteY4" fmla="*/ 13760560 h 1376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71445" h="13760560">
                <a:moveTo>
                  <a:pt x="0" y="13760560"/>
                </a:moveTo>
                <a:lnTo>
                  <a:pt x="6556087" y="44560"/>
                </a:lnTo>
                <a:lnTo>
                  <a:pt x="14571445" y="0"/>
                </a:lnTo>
                <a:cubicBezTo>
                  <a:pt x="14566819" y="4586853"/>
                  <a:pt x="14562194" y="9173707"/>
                  <a:pt x="14557568" y="13760560"/>
                </a:cubicBezTo>
                <a:lnTo>
                  <a:pt x="0" y="1376056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9B397B-5FFF-4718-A899-60E74B4865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85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6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122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content">
  <p:cSld name="title with cont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29"/>
              <a:buFont typeface="Arial"/>
              <a:buNone/>
              <a:defRPr sz="2429" b="0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body" idx="1"/>
          </p:nvPr>
        </p:nvSpPr>
        <p:spPr>
          <a:xfrm>
            <a:off x="609600" y="2209800"/>
            <a:ext cx="10972800" cy="3053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Char char="▪"/>
              <a:defRPr sz="2000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011" algn="l">
              <a:spcBef>
                <a:spcPts val="357"/>
              </a:spcBef>
              <a:spcAft>
                <a:spcPts val="0"/>
              </a:spcAft>
              <a:buClr>
                <a:schemeClr val="accent1"/>
              </a:buClr>
              <a:buSzPts val="1786"/>
              <a:buFont typeface="Noto Sans Symbols"/>
              <a:buChar char="▪"/>
              <a:defRPr sz="1786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28358" algn="l">
              <a:spcBef>
                <a:spcPts val="314"/>
              </a:spcBef>
              <a:spcAft>
                <a:spcPts val="0"/>
              </a:spcAft>
              <a:buClr>
                <a:schemeClr val="accent1"/>
              </a:buClr>
              <a:buSzPts val="1571"/>
              <a:buFont typeface="Noto Sans Symbols"/>
              <a:buChar char="▪"/>
              <a:defRPr sz="1571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19341" algn="l">
              <a:spcBef>
                <a:spcPts val="286"/>
              </a:spcBef>
              <a:spcAft>
                <a:spcPts val="0"/>
              </a:spcAft>
              <a:buClr>
                <a:schemeClr val="accent1"/>
              </a:buClr>
              <a:buSzPts val="1429"/>
              <a:buFont typeface="Noto Sans Symbols"/>
              <a:buChar char="▪"/>
              <a:defRPr sz="1429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5689" algn="l">
              <a:spcBef>
                <a:spcPts val="243"/>
              </a:spcBef>
              <a:spcAft>
                <a:spcPts val="0"/>
              </a:spcAft>
              <a:buClr>
                <a:schemeClr val="accent1"/>
              </a:buClr>
              <a:buSzPts val="1214"/>
              <a:buFont typeface="Noto Sans Symbols"/>
              <a:buChar char="▪"/>
              <a:defRPr sz="1214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2"/>
          </p:nvPr>
        </p:nvSpPr>
        <p:spPr>
          <a:xfrm>
            <a:off x="609600" y="1524000"/>
            <a:ext cx="109728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marL="457200" lvl="0" indent="-228600" algn="l">
              <a:spcBef>
                <a:spcPts val="443"/>
              </a:spcBef>
              <a:spcAft>
                <a:spcPts val="0"/>
              </a:spcAft>
              <a:buSzPts val="2214"/>
              <a:buNone/>
              <a:defRPr sz="2214" b="1">
                <a:solidFill>
                  <a:srgbClr val="313231"/>
                </a:solidFill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8884523" y="6008244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www.lnct.global </a:t>
            </a:r>
            <a:r>
              <a:rPr lang="en-US">
                <a:solidFill>
                  <a:srgbClr val="636466"/>
                </a:solidFill>
              </a:rPr>
              <a:t>| </a:t>
            </a:r>
            <a:fld id="{00000000-1234-1234-1234-123412341234}" type="slidenum">
              <a:rPr lang="en-US" smtClean="0">
                <a:solidFill>
                  <a:srgbClr val="636466"/>
                </a:solidFill>
              </a:rPr>
              <a:pPr/>
              <a:t>‹#›</a:t>
            </a:fld>
            <a:endParaRPr>
              <a:solidFill>
                <a:srgbClr val="E327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8088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66111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able format">
  <p:cSld name="2_table forma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29"/>
              <a:buFont typeface="Arial"/>
              <a:buNone/>
              <a:defRPr sz="2429" b="0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8884523" y="6008244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14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www.lnct.global </a:t>
            </a:r>
            <a:r>
              <a:rPr lang="en-US">
                <a:solidFill>
                  <a:srgbClr val="636466"/>
                </a:solidFill>
              </a:rPr>
              <a:t>| </a:t>
            </a:r>
            <a:fld id="{00000000-1234-1234-1234-123412341234}" type="slidenum">
              <a:rPr lang="en-US" smtClean="0">
                <a:solidFill>
                  <a:srgbClr val="636466"/>
                </a:solidFill>
              </a:rPr>
              <a:pPr/>
              <a:t>‹#›</a:t>
            </a:fld>
            <a:endParaRPr>
              <a:solidFill>
                <a:srgbClr val="E32726"/>
              </a:solidFill>
            </a:endParaRPr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609600" y="2870640"/>
            <a:ext cx="10972800" cy="2352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Char char="▪"/>
              <a:defRPr sz="2000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011" algn="l">
              <a:spcBef>
                <a:spcPts val="357"/>
              </a:spcBef>
              <a:spcAft>
                <a:spcPts val="0"/>
              </a:spcAft>
              <a:buClr>
                <a:schemeClr val="accent1"/>
              </a:buClr>
              <a:buSzPts val="1786"/>
              <a:buFont typeface="Noto Sans Symbols"/>
              <a:buChar char="▪"/>
              <a:defRPr sz="1786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28358" algn="l">
              <a:spcBef>
                <a:spcPts val="314"/>
              </a:spcBef>
              <a:spcAft>
                <a:spcPts val="0"/>
              </a:spcAft>
              <a:buClr>
                <a:schemeClr val="accent1"/>
              </a:buClr>
              <a:buSzPts val="1571"/>
              <a:buFont typeface="Noto Sans Symbols"/>
              <a:buChar char="▪"/>
              <a:defRPr sz="1571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19341" algn="l">
              <a:spcBef>
                <a:spcPts val="286"/>
              </a:spcBef>
              <a:spcAft>
                <a:spcPts val="0"/>
              </a:spcAft>
              <a:buClr>
                <a:schemeClr val="accent1"/>
              </a:buClr>
              <a:buSzPts val="1429"/>
              <a:buFont typeface="Noto Sans Symbols"/>
              <a:buChar char="▪"/>
              <a:defRPr sz="1429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5689" algn="l">
              <a:spcBef>
                <a:spcPts val="243"/>
              </a:spcBef>
              <a:spcAft>
                <a:spcPts val="0"/>
              </a:spcAft>
              <a:buClr>
                <a:schemeClr val="accent1"/>
              </a:buClr>
              <a:buSzPts val="1214"/>
              <a:buFont typeface="Noto Sans Symbols"/>
              <a:buChar char="▪"/>
              <a:defRPr sz="1214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2"/>
          </p:nvPr>
        </p:nvSpPr>
        <p:spPr>
          <a:xfrm>
            <a:off x="609600" y="1539707"/>
            <a:ext cx="10972800" cy="1174353"/>
          </a:xfrm>
          <a:prstGeom prst="rect">
            <a:avLst/>
          </a:prstGeom>
          <a:solidFill>
            <a:srgbClr val="E5E5E5">
              <a:alpha val="49803"/>
            </a:srgbClr>
          </a:solidFill>
          <a:ln>
            <a:noFill/>
          </a:ln>
        </p:spPr>
        <p:txBody>
          <a:bodyPr spcFirstLastPara="1" wrap="square" lIns="127975" tIns="63975" rIns="127975" bIns="63975" anchor="ctr" anchorCtr="0">
            <a:norm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rgbClr val="00A6B6"/>
              </a:buClr>
              <a:buSzPts val="2000"/>
              <a:buFont typeface="Arial"/>
              <a:buNone/>
              <a:defRPr sz="2000" b="0" i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spcBef>
                <a:spcPts val="357"/>
              </a:spcBef>
              <a:spcAft>
                <a:spcPts val="0"/>
              </a:spcAft>
              <a:buClr>
                <a:srgbClr val="00A6B6"/>
              </a:buClr>
              <a:buSzPts val="1786"/>
              <a:buFont typeface="Arial"/>
              <a:buNone/>
              <a:defRPr sz="1786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spcBef>
                <a:spcPts val="314"/>
              </a:spcBef>
              <a:spcAft>
                <a:spcPts val="0"/>
              </a:spcAft>
              <a:buClr>
                <a:srgbClr val="00A6B6"/>
              </a:buClr>
              <a:buSzPts val="1571"/>
              <a:buFont typeface="Arial"/>
              <a:buNone/>
              <a:defRPr sz="1571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spcBef>
                <a:spcPts val="286"/>
              </a:spcBef>
              <a:spcAft>
                <a:spcPts val="0"/>
              </a:spcAft>
              <a:buClr>
                <a:srgbClr val="00A6B6"/>
              </a:buClr>
              <a:buSzPts val="1429"/>
              <a:buFont typeface="Arial"/>
              <a:buNone/>
              <a:defRPr sz="1429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spcBef>
                <a:spcPts val="243"/>
              </a:spcBef>
              <a:spcAft>
                <a:spcPts val="0"/>
              </a:spcAft>
              <a:buClr>
                <a:srgbClr val="00A6B6"/>
              </a:buClr>
              <a:buSzPts val="1214"/>
              <a:buFont typeface="Arial"/>
              <a:buNone/>
              <a:defRPr sz="1214" b="0" i="0">
                <a:solidFill>
                  <a:srgbClr val="3132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402674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able format">
  <p:cSld name="1_table format">
    <p:bg>
      <p:bgPr>
        <a:solidFill>
          <a:schemeClr val="accent2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1219200" y="3269040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14"/>
              <a:buFont typeface="Arial"/>
              <a:buNone/>
              <a:defRPr sz="3214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304141" y="63546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14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r>
              <a:rPr lang="en-US"/>
              <a:t> | www.lnct.global</a:t>
            </a:r>
          </a:p>
        </p:txBody>
      </p:sp>
    </p:spTree>
    <p:extLst>
      <p:ext uri="{BB962C8B-B14F-4D97-AF65-F5344CB8AC3E}">
        <p14:creationId xmlns:p14="http://schemas.microsoft.com/office/powerpoint/2010/main" val="330049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2209800"/>
            <a:ext cx="109728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24000"/>
            <a:ext cx="109728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4523" y="6008244"/>
            <a:ext cx="28448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594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35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marL="0" indent="0"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31D734-4300-47A2-A962-F31C5614D844}"/>
              </a:ext>
            </a:extLst>
          </p:cNvPr>
          <p:cNvCxnSpPr>
            <a:cxnSpLocks/>
          </p:cNvCxnSpPr>
          <p:nvPr userDrawn="1"/>
        </p:nvCxnSpPr>
        <p:spPr>
          <a:xfrm flipV="1">
            <a:off x="949572" y="1165748"/>
            <a:ext cx="10292856" cy="1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4C77CF6-8E8E-4097-9D81-6A34BAC6F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07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conten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5988" y="2209800"/>
            <a:ext cx="10296440" cy="3053038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bg2"/>
                </a:solidFill>
                <a:latin typeface="+mn-lt"/>
                <a:cs typeface="Museo Slab 300"/>
              </a:defRPr>
            </a:lvl1pPr>
            <a:lvl2pPr>
              <a:buClr>
                <a:schemeClr val="bg2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bg2"/>
                </a:solidFill>
                <a:latin typeface="+mn-lt"/>
                <a:cs typeface="Museo Slab 300"/>
              </a:defRPr>
            </a:lvl2pPr>
            <a:lvl3pPr>
              <a:buClr>
                <a:schemeClr val="bg2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bg2"/>
                </a:solidFill>
                <a:latin typeface="+mn-lt"/>
                <a:cs typeface="Museo Slab 300"/>
              </a:defRPr>
            </a:lvl3pPr>
            <a:lvl4pPr>
              <a:buClr>
                <a:schemeClr val="bg2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bg2"/>
                </a:solidFill>
                <a:latin typeface="+mn-lt"/>
                <a:cs typeface="Museo Slab 300"/>
              </a:defRPr>
            </a:lvl4pPr>
            <a:lvl5pPr>
              <a:buClr>
                <a:schemeClr val="bg2"/>
              </a:buClr>
              <a:buSzPct val="125000"/>
              <a:buFont typeface="Wingdings" pitchFamily="2" charset="2"/>
              <a:buChar char="§"/>
              <a:defRPr sz="1200" b="0" i="0">
                <a:solidFill>
                  <a:schemeClr val="bg2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5988" y="1524000"/>
            <a:ext cx="10296440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+mn-lt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A2A8953-DA18-4DDE-8783-2DF66341789C}"/>
              </a:ext>
            </a:extLst>
          </p:cNvPr>
          <p:cNvCxnSpPr>
            <a:cxnSpLocks/>
          </p:cNvCxnSpPr>
          <p:nvPr userDrawn="1"/>
        </p:nvCxnSpPr>
        <p:spPr>
          <a:xfrm flipV="1">
            <a:off x="926111" y="1165748"/>
            <a:ext cx="10316317" cy="1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89F986A-D4FC-4DED-A0FB-3AE6C65AF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bg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3D056A9-8A08-4B9C-914C-7D0448F931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6" y="6003891"/>
            <a:ext cx="2808806" cy="784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3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content_bottom-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BABF8012-9965-4BAF-A594-3F6F2F652BE0}"/>
              </a:ext>
            </a:extLst>
          </p:cNvPr>
          <p:cNvSpPr/>
          <p:nvPr userDrawn="1"/>
        </p:nvSpPr>
        <p:spPr>
          <a:xfrm>
            <a:off x="9891252" y="4616249"/>
            <a:ext cx="2300749" cy="2241755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+mn-lt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401F3C-5133-4946-B9C3-622788077AF9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61"/>
            <a:ext cx="1029285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7B333BB0-0257-4CBE-BDEA-A24FAFC83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7720EB3-FBB1-48E9-BD6E-6B80715826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90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content-top-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301254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38899" y="1475674"/>
            <a:ext cx="10301254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BABF8012-9965-4BAF-A594-3F6F2F652BE0}"/>
              </a:ext>
            </a:extLst>
          </p:cNvPr>
          <p:cNvSpPr/>
          <p:nvPr userDrawn="1"/>
        </p:nvSpPr>
        <p:spPr>
          <a:xfrm rot="16200000">
            <a:off x="9920751" y="29499"/>
            <a:ext cx="2300749" cy="2241755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C701D77-A912-4C2A-87E3-EEB2D5253767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61"/>
            <a:ext cx="1030125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87CA5918-154D-418A-84E9-A0CCC5D46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301254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6AC3BE-C20C-4BEC-B5AB-4404ADDC29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292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content-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71900" y="2593319"/>
            <a:ext cx="5403005" cy="3053038"/>
          </a:xfrm>
        </p:spPr>
        <p:txBody>
          <a:bodyPr>
            <a:noAutofit/>
          </a:bodyPr>
          <a:lstStyle>
            <a:lvl1pPr marL="0" indent="0">
              <a:buClr>
                <a:srgbClr val="00A6B6"/>
              </a:buClr>
              <a:buSzPct val="125000"/>
              <a:buFont typeface="Wingdings" pitchFamily="2" charset="2"/>
              <a:buNone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 marL="457188" indent="0">
              <a:buClr>
                <a:srgbClr val="00A6B6"/>
              </a:buClr>
              <a:buSzPct val="125000"/>
              <a:buFont typeface="Wingdings" pitchFamily="2" charset="2"/>
              <a:buNone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 marL="914377" indent="0">
              <a:buClr>
                <a:srgbClr val="00A6B6"/>
              </a:buClr>
              <a:buSzPct val="125000"/>
              <a:buFont typeface="Wingdings" pitchFamily="2" charset="2"/>
              <a:buNone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 marL="1371566" indent="0">
              <a:buClr>
                <a:srgbClr val="00A6B6"/>
              </a:buClr>
              <a:buSzPct val="125000"/>
              <a:buFont typeface="Wingdings" pitchFamily="2" charset="2"/>
              <a:buNone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 marL="1828755" indent="0">
              <a:buClr>
                <a:srgbClr val="00A6B6"/>
              </a:buClr>
              <a:buSzPct val="125000"/>
              <a:buFont typeface="Wingdings" pitchFamily="2" charset="2"/>
              <a:buNone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71900" y="1907519"/>
            <a:ext cx="5403005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or highlight sent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CEF5D4-DCF4-476E-BB94-20AEA84017D5}"/>
              </a:ext>
            </a:extLst>
          </p:cNvPr>
          <p:cNvSpPr/>
          <p:nvPr userDrawn="1"/>
        </p:nvSpPr>
        <p:spPr>
          <a:xfrm>
            <a:off x="0" y="0"/>
            <a:ext cx="607512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12" y="1793218"/>
            <a:ext cx="4945271" cy="2557581"/>
          </a:xfrm>
        </p:spPr>
        <p:txBody>
          <a:bodyPr anchor="t">
            <a:no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bg2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45D4D46-1EA7-4E49-94C8-D2109B535200}"/>
              </a:ext>
            </a:extLst>
          </p:cNvPr>
          <p:cNvGrpSpPr/>
          <p:nvPr userDrawn="1"/>
        </p:nvGrpSpPr>
        <p:grpSpPr>
          <a:xfrm>
            <a:off x="386865" y="1409700"/>
            <a:ext cx="1985211" cy="902368"/>
            <a:chOff x="224589" y="2209800"/>
            <a:chExt cx="1985211" cy="9023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20AF0B2-2EE2-4A41-A868-A58B6D120C05}"/>
                </a:ext>
              </a:extLst>
            </p:cNvPr>
            <p:cNvCxnSpPr/>
            <p:nvPr userDrawn="1"/>
          </p:nvCxnSpPr>
          <p:spPr>
            <a:xfrm>
              <a:off x="224589" y="2209800"/>
              <a:ext cx="0" cy="902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2C00A28-94F2-4B2F-A723-44A0BE283AA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24589" y="2223168"/>
              <a:ext cx="1985211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EB44389B-5EB2-45F8-8E94-A86F6610F2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6" y="6032029"/>
            <a:ext cx="2668727" cy="74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773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 or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4CCD3-221F-404D-9C00-E4AFCB2C89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289" y="2228511"/>
            <a:ext cx="10271422" cy="1143000"/>
          </a:xfrm>
        </p:spPr>
        <p:txBody>
          <a:bodyPr anchor="t"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Main Statistic or Fac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FE90DF-5FFC-43C1-9CFB-C24FC90D0FB3}"/>
              </a:ext>
            </a:extLst>
          </p:cNvPr>
          <p:cNvGrpSpPr/>
          <p:nvPr userDrawn="1"/>
        </p:nvGrpSpPr>
        <p:grpSpPr>
          <a:xfrm>
            <a:off x="949572" y="1986425"/>
            <a:ext cx="2221832" cy="760077"/>
            <a:chOff x="609600" y="2127504"/>
            <a:chExt cx="2221832" cy="76007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961C945-CB6E-4E76-8943-7840CE5E1116}"/>
                </a:ext>
              </a:extLst>
            </p:cNvPr>
            <p:cNvCxnSpPr/>
            <p:nvPr userDrawn="1"/>
          </p:nvCxnSpPr>
          <p:spPr>
            <a:xfrm>
              <a:off x="609600" y="2127504"/>
              <a:ext cx="0" cy="76007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36AD433-7D79-4046-9364-80D89628819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09600" y="2127504"/>
              <a:ext cx="2221832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BD8A93-7743-4B0B-A0E2-28CB34324D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64681" y="3401134"/>
            <a:ext cx="5862638" cy="1958975"/>
          </a:xfrm>
        </p:spPr>
        <p:txBody>
          <a:bodyPr anchor="ctr">
            <a:noAutofit/>
          </a:bodyPr>
          <a:lstStyle>
            <a:lvl1pPr marL="0" indent="0" algn="ctr">
              <a:buNone/>
              <a:defRPr sz="88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85B543F-6C16-4A30-AD22-7A20181E35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53" y="6126725"/>
            <a:ext cx="218198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02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/Fact-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4CCD3-221F-404D-9C00-E4AFCB2C89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289" y="2228511"/>
            <a:ext cx="10271422" cy="1143000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Main Statistic or Fac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FE90DF-5FFC-43C1-9CFB-C24FC90D0FB3}"/>
              </a:ext>
            </a:extLst>
          </p:cNvPr>
          <p:cNvGrpSpPr/>
          <p:nvPr userDrawn="1"/>
        </p:nvGrpSpPr>
        <p:grpSpPr>
          <a:xfrm>
            <a:off x="949572" y="2138825"/>
            <a:ext cx="2221832" cy="760077"/>
            <a:chOff x="609600" y="2127504"/>
            <a:chExt cx="2221832" cy="76007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961C945-CB6E-4E76-8943-7840CE5E1116}"/>
                </a:ext>
              </a:extLst>
            </p:cNvPr>
            <p:cNvCxnSpPr/>
            <p:nvPr userDrawn="1"/>
          </p:nvCxnSpPr>
          <p:spPr>
            <a:xfrm>
              <a:off x="609600" y="2127504"/>
              <a:ext cx="0" cy="760077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36AD433-7D79-4046-9364-80D89628819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09600" y="2127504"/>
              <a:ext cx="222183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5A10267-0C3F-48F2-9968-058289D5F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Museo Sans 300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BD8A93-7743-4B0B-A0E2-28CB34324D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64681" y="3401134"/>
            <a:ext cx="5862638" cy="1958975"/>
          </a:xfrm>
        </p:spPr>
        <p:txBody>
          <a:bodyPr anchor="ctr">
            <a:noAutofit/>
          </a:bodyPr>
          <a:lstStyle>
            <a:lvl1pPr marL="0" indent="0" algn="ctr">
              <a:buNone/>
              <a:defRPr sz="8800">
                <a:solidFill>
                  <a:schemeClr val="bg2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C309AE2-061B-4545-A79E-A220DEE34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185" y="6108269"/>
            <a:ext cx="2343945" cy="654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985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48C9F-7C57-43CC-B2B9-47BC561FF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2521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48C9F-7C57-43CC-B2B9-47BC561FF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A18719A-1C4F-4ABE-AF1A-ACD9861CA6B9}"/>
              </a:ext>
            </a:extLst>
          </p:cNvPr>
          <p:cNvSpPr txBox="1">
            <a:spLocks/>
          </p:cNvSpPr>
          <p:nvPr userDrawn="1"/>
        </p:nvSpPr>
        <p:spPr>
          <a:xfrm>
            <a:off x="9111388" y="6360239"/>
            <a:ext cx="277581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rgbClr val="636466"/>
                </a:solidFill>
                <a:latin typeface="Museo Sans 300"/>
                <a:ea typeface="+mn-ea"/>
                <a:cs typeface="Museo Sans 30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linkedimmunisation.org |  </a:t>
            </a:r>
            <a:fld id="{F32F67E5-730B-4B3A-9A58-41E5E3F0691E}" type="slidenum">
              <a:rPr lang="en-US" sz="1000" smtClean="0">
                <a:solidFill>
                  <a:schemeClr val="tx1"/>
                </a:solidFill>
                <a:latin typeface="+mj-lt"/>
              </a:rPr>
              <a:pPr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162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8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1" r:id="rId20"/>
    <p:sldLayoutId id="2147483683" r:id="rId21"/>
    <p:sldLayoutId id="2147483685" r:id="rId22"/>
    <p:sldLayoutId id="2147483686" r:id="rId23"/>
    <p:sldLayoutId id="2147483688" r:id="rId24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4400" b="0" i="0" kern="1200">
          <a:solidFill>
            <a:schemeClr val="accent5"/>
          </a:solidFill>
          <a:latin typeface="+mn-lt"/>
          <a:ea typeface="+mj-ea"/>
          <a:cs typeface="Museo Sans 50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3200" b="0" i="0" kern="1200">
          <a:solidFill>
            <a:schemeClr val="accent5"/>
          </a:solidFill>
          <a:latin typeface="+mn-lt"/>
          <a:ea typeface="+mn-ea"/>
          <a:cs typeface="Museo Slab 300"/>
        </a:defRPr>
      </a:lvl1pPr>
      <a:lvl2pPr marL="742932" indent="-28574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800" b="0" i="0" kern="1200">
          <a:solidFill>
            <a:schemeClr val="accent5"/>
          </a:solidFill>
          <a:latin typeface="+mn-lt"/>
          <a:ea typeface="+mn-ea"/>
          <a:cs typeface="Museo Slab 300"/>
        </a:defRPr>
      </a:lvl2pPr>
      <a:lvl3pPr marL="1142971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400" b="0" i="0" kern="1200">
          <a:solidFill>
            <a:schemeClr val="accent5"/>
          </a:solidFill>
          <a:latin typeface="+mn-lt"/>
          <a:ea typeface="+mn-ea"/>
          <a:cs typeface="Museo Slab 300"/>
        </a:defRPr>
      </a:lvl3pPr>
      <a:lvl4pPr marL="1600160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4pPr>
      <a:lvl5pPr marL="2057349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>
            <a:alpha val="0"/>
          </a:scheme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rm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29"/>
              <a:buFont typeface="Arial"/>
              <a:buNone/>
              <a:defRPr sz="442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t" anchorCtr="0">
            <a:normAutofit/>
          </a:bodyPr>
          <a:lstStyle>
            <a:lvl1pPr marL="457200" marR="0" lvl="0" indent="-432689" algn="l" rtl="0">
              <a:spcBef>
                <a:spcPts val="643"/>
              </a:spcBef>
              <a:spcAft>
                <a:spcPts val="0"/>
              </a:spcAft>
              <a:buClr>
                <a:schemeClr val="accent1"/>
              </a:buClr>
              <a:buSzPts val="3214"/>
              <a:buFont typeface="Noto Sans Symbols"/>
              <a:buChar char="▪"/>
              <a:defRPr sz="3214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5511" algn="l" rtl="0">
              <a:spcBef>
                <a:spcPts val="557"/>
              </a:spcBef>
              <a:spcAft>
                <a:spcPts val="0"/>
              </a:spcAft>
              <a:buClr>
                <a:schemeClr val="accent1"/>
              </a:buClr>
              <a:buSzPts val="2786"/>
              <a:buFont typeface="Noto Sans Symbols"/>
              <a:buChar char="▪"/>
              <a:defRPr sz="2786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509841" algn="l" rtl="0">
              <a:spcBef>
                <a:spcPts val="886"/>
              </a:spcBef>
              <a:spcAft>
                <a:spcPts val="0"/>
              </a:spcAft>
              <a:buClr>
                <a:schemeClr val="accent1"/>
              </a:buClr>
              <a:buSzPts val="4429"/>
              <a:buFont typeface="Noto Sans Symbols"/>
              <a:buChar char="▪"/>
              <a:defRPr sz="4429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Char char="▪"/>
              <a:defRPr sz="20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Char char="▪"/>
              <a:defRPr sz="20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14" b="0" i="0" u="none" strike="noStrike" cap="none">
                <a:solidFill>
                  <a:srgbClr val="8D8D8D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7975" tIns="63975" rIns="127975" bIns="639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14" b="0" i="0" u="none" strike="noStrike" cap="none">
                <a:solidFill>
                  <a:srgbClr val="8D8D8D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521319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5.gif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D30BD75-D01A-44C4-8287-AD6342194C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200" y="3248526"/>
            <a:ext cx="5791200" cy="1323474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+mj-lt"/>
              </a:rPr>
              <a:t>DAY 1</a:t>
            </a:r>
          </a:p>
          <a:p>
            <a:endParaRPr lang="en-US" sz="2000" dirty="0">
              <a:latin typeface="+mj-lt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955ABA1-9821-408F-B1B3-EA18DBEEA8F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7 October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3DAB2A-9E3C-4E1E-B069-60B98D815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532722"/>
            <a:ext cx="10871200" cy="2299687"/>
          </a:xfrm>
        </p:spPr>
        <p:txBody>
          <a:bodyPr/>
          <a:lstStyle/>
          <a:p>
            <a:r>
              <a:rPr lang="en-US" b="1" dirty="0"/>
              <a:t>Gavi-Linked Learning Forum: 	</a:t>
            </a:r>
            <a:r>
              <a:rPr lang="en-GB" b="1" i="1" dirty="0"/>
              <a:t>Sustaining and Strengthening 	Immunisation Cove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3691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1562258" y="979211"/>
            <a:ext cx="9065594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09">
              <a:defRPr/>
            </a:pPr>
            <a:endParaRPr lang="en-US" sz="1786">
              <a:solidFill>
                <a:srgbClr val="F7F7F7"/>
              </a:solidFill>
              <a:latin typeface="Arial"/>
              <a:sym typeface="Arial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5333" y="21126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spcAft>
                <a:spcPts val="125"/>
              </a:spcAft>
              <a:defRPr/>
            </a:pPr>
            <a:r>
              <a:rPr lang="en-US" sz="2200" b="1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Moldova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Sustaining and Strengthening Immunization Coverage 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in Middle-Income </a:t>
            </a:r>
            <a:r>
              <a:rPr lang="en-US" sz="1200" b="1" kern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</a:t>
            </a:r>
            <a:r>
              <a:rPr lang="en-US" sz="1200" b="1" err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ountries</a:t>
            </a:r>
            <a:endParaRPr lang="en-US" sz="1200" b="1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defRPr/>
            </a:pPr>
            <a:r>
              <a:rPr lang="en-US" sz="1200" b="1" i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Tashkent, Uzbekistan, 07-09 October 2025</a:t>
            </a:r>
            <a:endParaRPr lang="en-US" sz="120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1524000" y="6384598"/>
            <a:ext cx="9144001" cy="503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862" y="6397488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9283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/>
        </p:nvGraphicFramePr>
        <p:xfrm>
          <a:off x="5513159" y="992890"/>
          <a:ext cx="5114695" cy="1531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695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7444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238869">
                <a:tc>
                  <a:txBody>
                    <a:bodyPr/>
                    <a:lstStyle/>
                    <a:p>
                      <a:pPr marL="182563" marR="0" lvl="0" indent="-1825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justified contraindications from private practitioners, specialist doctors, neonatologists leading to delayed immunisation </a:t>
                      </a:r>
                    </a:p>
                    <a:p>
                      <a:pPr marL="182563" marR="0" lvl="0" indent="-1825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or immunisation communication skills among PHC workers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imited immunisation data analysis by family doctors, performance monitoring at facility level, supportive supervision from Public Health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licy limitations (opt-in policy, immunisation is not part of the PHC accountability framework, weak enforcement of mandatory immun.)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accination refusal from religious and cultural (Roma) subgroups.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nline and offline </a:t>
                      </a:r>
                      <a:r>
                        <a:rPr lang="en-US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isinformation leading to mistrust in routine vaccination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/>
        </p:nvGraphicFramePr>
        <p:xfrm>
          <a:off x="5513159" y="2551050"/>
          <a:ext cx="5114695" cy="1356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695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23326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19200">
                <a:tc>
                  <a:txBody>
                    <a:bodyPr/>
                    <a:lstStyle/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gage religious and Roma leaders in targeted intervention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capacities in immunization counselling for medical and social workers, including community mediators for Roma and refugee communitie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lement the Social Listening and Media Monitoring for immunisation initiative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hancing data collection and reporting systems to ensure real-time data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the supervision system for primary healthcare facilities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mote community engagement activities in rural areas &amp; integrate vaccination subject into the education curricula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/>
        </p:nvGraphicFramePr>
        <p:xfrm>
          <a:off x="1560370" y="3952120"/>
          <a:ext cx="4335660" cy="2380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5660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9670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 (2023-2025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83544">
                <a:tc>
                  <a:txBody>
                    <a:bodyPr/>
                    <a:lstStyle/>
                    <a:p>
                      <a:pPr marL="138113" marR="0" lvl="0" indent="-13811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rehensive root cause analysis of barriers to vaccination in Balti district, developing and implementation of targeted interventions (2023)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Engagement for Immunisation (2023-2024): Multicomponent, multisectoral interventions in 10 rayons and 14 suburbs of Chisinau including consensus building, educational, communication and awareness raising events with the target groups.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vidence generation  and coverage and  equity assessment, and development of Social and Behaviour Change Action Plan 2023-2027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tegration of Interpersonal communication skills on immunization Module into in-service and pre-service national curricula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ocial listening and countering misinformation</a:t>
                      </a:r>
                    </a:p>
                    <a:p>
                      <a:pPr marL="138113" indent="-138113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850" kern="1200" noProof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upport PHC workers in the vaccination process through the establishment of a Methodological Centre for Vaccination,</a:t>
                      </a:r>
                      <a:r>
                        <a:rPr lang="ro-RO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MCH Institute.</a:t>
                      </a:r>
                      <a:endParaRPr lang="en-US" sz="8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/>
        </p:nvGraphicFramePr>
        <p:xfrm>
          <a:off x="5948517" y="3948353"/>
          <a:ext cx="4679336" cy="23914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7933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05457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2085965"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Following tailored actions &amp; community engagement</a:t>
                      </a:r>
                      <a:r>
                        <a:rPr lang="ro-RO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ptake rose by 35% for DTP3, 29% for MMR, 63% for HPV in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Bălț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and by 3–5% in several rayons (Cahul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ușe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Comrat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âșca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Ștefan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odă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). HPV coverage among 15-y increased by 40% in some suburbs of Chișinău and by 5–10% in rayons such as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lăraș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ăușeni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eadîr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-Lunga, and Comrat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ith support from the Methodological Centre for Immunization, over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500 previously unvaccinated children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received vaccines 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ocial Listening initiative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was institutionalized within the National Agency for Public Health, and the </a:t>
                      </a: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BC Action Plan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was approved and integrated into the EPI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IPC Module was integrated into 10 in-service and pre-service curricula at Medical Colleges, and into 9 programs at the University of Medicine.</a:t>
                      </a:r>
                      <a:endParaRPr lang="ro-RO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ssons learned:</a:t>
                      </a:r>
                      <a:endParaRPr lang="en-US" sz="85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ailored, evidence-based interventions are essential to address specific barriers.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engagement is key to building trust and acceptance of vaccine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 descr="C:\Users\Alexei™\Desktop\md.png">
            <a:extLst>
              <a:ext uri="{FF2B5EF4-FFF2-40B4-BE49-F238E27FC236}">
                <a16:creationId xmlns:a16="http://schemas.microsoft.com/office/drawing/2014/main" id="{71EB71D7-FBB4-FEBF-3C12-C0ECE08FC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064" y="132994"/>
            <a:ext cx="1313301" cy="65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4BC989-B371-F224-8763-A075E30BDA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0369" y="992890"/>
            <a:ext cx="3900303" cy="292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09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"/>
          <p:cNvSpPr/>
          <p:nvPr/>
        </p:nvSpPr>
        <p:spPr>
          <a:xfrm>
            <a:off x="1564152" y="979211"/>
            <a:ext cx="9078448" cy="5417470"/>
          </a:xfrm>
          <a:prstGeom prst="rect">
            <a:avLst/>
          </a:prstGeom>
          <a:solidFill>
            <a:srgbClr val="1070B8"/>
          </a:solidFill>
          <a:ln w="76200" cap="flat" cmpd="sng">
            <a:solidFill>
              <a:srgbClr val="1070B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7F7F7"/>
              </a:buClr>
              <a:buSzPts val="1786"/>
            </a:pPr>
            <a:endParaRPr sz="1786" kern="0">
              <a:solidFill>
                <a:srgbClr val="F7F7F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1"/>
          <p:cNvSpPr txBox="1"/>
          <p:nvPr/>
        </p:nvSpPr>
        <p:spPr>
          <a:xfrm>
            <a:off x="1786202" y="1011"/>
            <a:ext cx="8540700" cy="9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25" tIns="9500" rIns="19025" bIns="9500" anchor="t" anchorCtr="0">
            <a:spAutoFit/>
          </a:bodyPr>
          <a:lstStyle/>
          <a:p>
            <a:pPr algn="ctr">
              <a:buClr>
                <a:srgbClr val="1070B8"/>
              </a:buClr>
              <a:buSzPts val="2200"/>
            </a:pPr>
            <a:r>
              <a:rPr lang="en-US" sz="2200" b="1" kern="0">
                <a:solidFill>
                  <a:srgbClr val="1070B8"/>
                </a:solidFill>
                <a:latin typeface="Poppins"/>
                <a:ea typeface="Poppins"/>
                <a:cs typeface="Poppins"/>
                <a:sym typeface="Poppins"/>
              </a:rPr>
              <a:t>Vietnam</a:t>
            </a: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kern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Sustaining and Strengthening Immunization Coverage </a:t>
            </a: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kern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in Middle-Income Countries</a:t>
            </a:r>
            <a:endParaRPr sz="1200" b="1" kern="0">
              <a:solidFill>
                <a:srgbClr val="31323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i="1" kern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Tashkent, Uzbekistan, 07-09 October 2025</a:t>
            </a:r>
            <a:endParaRPr sz="1200" kern="0">
              <a:solidFill>
                <a:srgbClr val="31323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4" name="Google Shape;34;p1"/>
          <p:cNvSpPr txBox="1"/>
          <p:nvPr/>
        </p:nvSpPr>
        <p:spPr>
          <a:xfrm>
            <a:off x="1886063" y="161785"/>
            <a:ext cx="1345500" cy="3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25" tIns="9500" rIns="19025" bIns="9500" anchor="t" anchorCtr="0">
            <a:spAutoFit/>
          </a:bodyPr>
          <a:lstStyle/>
          <a:p>
            <a:pPr algn="ctr">
              <a:buClr>
                <a:srgbClr val="313231"/>
              </a:buClr>
              <a:buSzPts val="1600"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spcBef>
                <a:spcPts val="286"/>
              </a:spcBef>
              <a:buClr>
                <a:srgbClr val="313231"/>
              </a:buClr>
              <a:buSzPts val="571"/>
            </a:pPr>
            <a:endParaRPr sz="571" kern="0">
              <a:solidFill>
                <a:srgbClr val="FFFF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5" name="Google Shape;35;p1"/>
          <p:cNvSpPr/>
          <p:nvPr/>
        </p:nvSpPr>
        <p:spPr>
          <a:xfrm>
            <a:off x="1524000" y="6384598"/>
            <a:ext cx="9144001" cy="503121"/>
          </a:xfrm>
          <a:prstGeom prst="rect">
            <a:avLst/>
          </a:prstGeom>
          <a:solidFill>
            <a:schemeClr val="lt2"/>
          </a:solidFill>
          <a:ln>
            <a:noFill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19025" tIns="9500" rIns="19025" bIns="9500" anchor="ctr" anchorCtr="0">
            <a:noAutofit/>
          </a:bodyPr>
          <a:lstStyle/>
          <a:p>
            <a:pPr algn="ctr">
              <a:buClr>
                <a:srgbClr val="F7F7F7"/>
              </a:buClr>
              <a:buSzPts val="1786"/>
            </a:pPr>
            <a:endParaRPr sz="1786" kern="0">
              <a:solidFill>
                <a:srgbClr val="F7F7F7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36" name="Google Shape;36;p1" descr="GAVI_Alliance_Colour_Logo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86203" y="6404511"/>
            <a:ext cx="1142629" cy="4380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Google Shape;37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859283" y="6404510"/>
            <a:ext cx="1623729" cy="453134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Google Shape;40;p1" descr="A screenshot of a graph&#10;&#10;AI-generated content may be incorrect.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637574" y="1039857"/>
            <a:ext cx="3816743" cy="28685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41" name="Google Shape;41;p1"/>
          <p:cNvGraphicFramePr/>
          <p:nvPr/>
        </p:nvGraphicFramePr>
        <p:xfrm>
          <a:off x="5575934" y="1000909"/>
          <a:ext cx="5043965" cy="223591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0439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59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50" u="none" strike="noStrike" cap="none" dirty="0">
                          <a:solidFill>
                            <a:schemeClr val="lt1"/>
                          </a:solidFill>
                          <a:latin typeface="Poppins" pitchFamily="2" charset="77"/>
                          <a:ea typeface="Poppins"/>
                          <a:cs typeface="Poppins" pitchFamily="2" charset="77"/>
                          <a:sym typeface="Poppins"/>
                        </a:rPr>
                        <a:t>Priority drivers of persistent coverage challenges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015">
                <a:tc>
                  <a:txBody>
                    <a:bodyPr/>
                    <a:lstStyle/>
                    <a:p>
                      <a:pPr marL="17145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Sustain and strengthen the capacity of the subnational workforce</a:t>
                      </a:r>
                      <a:r>
                        <a:rPr lang="en-US" sz="950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 in planning, implementing, and monitoring essential activities, while effectively navigating ongoing administrative restructuring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Timely and adequate operational funding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key to supporting outreach, supervision, and routine immunization activities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Streamlining procurement and supply systems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can help avoid stockouts and improve timeliness of vaccine delivery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Clarifying ownership and management of digital systems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, such as NIIS, can enhance data use and coordination across levels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Persistent vaccine hesitancy and misinformation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, especially in underserved or remote areas, affect uptake despite high national averages.</a:t>
                      </a:r>
                      <a:endParaRPr sz="950" dirty="0">
                        <a:solidFill>
                          <a:srgbClr val="596568"/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2" name="Google Shape;42;p1"/>
          <p:cNvGraphicFramePr/>
          <p:nvPr/>
        </p:nvGraphicFramePr>
        <p:xfrm>
          <a:off x="5575863" y="3288889"/>
          <a:ext cx="5043963" cy="160165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043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81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50" u="none" strike="noStrike" cap="none" dirty="0">
                          <a:solidFill>
                            <a:schemeClr val="lt1"/>
                          </a:solidFill>
                          <a:latin typeface="Poppins" pitchFamily="2" charset="77"/>
                          <a:ea typeface="Poppins"/>
                          <a:cs typeface="Poppins" pitchFamily="2" charset="77"/>
                          <a:sym typeface="Poppins"/>
                        </a:rPr>
                        <a:t>Priority needs to optimize coverage (as of 2026)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3475">
                <a:tc>
                  <a:txBody>
                    <a:bodyPr/>
                    <a:lstStyle/>
                    <a:p>
                      <a:pPr marL="171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Build sustained provincial capacity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for planning, budgeting, and monitoring to deliver tailored, equity-focused immunization strategies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Secure predictable, flexible domestic financing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through a dedicated national vaccine budget line and streamlined operational fund disbursement.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Advance governance and system integration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by finalizing NIIS transition to MOH ownership and aligning digital systems with broader health sector reforms</a:t>
                      </a:r>
                      <a:endParaRPr sz="950" dirty="0">
                        <a:solidFill>
                          <a:srgbClr val="596568"/>
                        </a:solidFill>
                        <a:latin typeface="Poppins" pitchFamily="2" charset="77"/>
                        <a:ea typeface="Poppins"/>
                        <a:cs typeface="Poppins" pitchFamily="2" charset="77"/>
                        <a:sym typeface="Poppins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3" name="Google Shape;43;p1"/>
          <p:cNvGraphicFramePr/>
          <p:nvPr/>
        </p:nvGraphicFramePr>
        <p:xfrm>
          <a:off x="1607115" y="3999230"/>
          <a:ext cx="3903348" cy="2314936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3903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583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Poppins"/>
                        <a:buNone/>
                      </a:pPr>
                      <a:r>
                        <a:rPr lang="en-US" sz="950" u="none" strike="noStrike" cap="none" dirty="0">
                          <a:solidFill>
                            <a:schemeClr val="lt1"/>
                          </a:solidFill>
                          <a:latin typeface="Poppins" pitchFamily="2" charset="77"/>
                          <a:ea typeface="Poppins"/>
                          <a:cs typeface="Poppins" pitchFamily="2" charset="77"/>
                          <a:sym typeface="Poppins"/>
                        </a:rPr>
                        <a:t>Approaches implemented (incl. year(s))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9104">
                <a:tc>
                  <a:txBody>
                    <a:bodyPr/>
                    <a:lstStyle/>
                    <a:p>
                      <a:pPr marL="285750" marR="0" lvl="0" indent="-244475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96568"/>
                        </a:buClr>
                        <a:buSzPts val="750"/>
                        <a:buFont typeface="Arial"/>
                        <a:buChar char="•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Launched targeted outreach and mop-up campaigns in underserved southern and highland provinces</a:t>
                      </a:r>
                    </a:p>
                    <a:p>
                      <a:pPr marL="285750" marR="0" lvl="0" indent="-244475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96568"/>
                        </a:buClr>
                        <a:buSzPts val="750"/>
                        <a:buFont typeface="Arial"/>
                        <a:buChar char="•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Transitioning ownership of the National Immunization Information System (NIIS) to the MOH to improve system sustainability and integration</a:t>
                      </a:r>
                    </a:p>
                    <a:p>
                      <a:pPr marL="285750" marR="0" lvl="0" indent="-244475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96568"/>
                        </a:buClr>
                        <a:buSzPts val="750"/>
                        <a:buFont typeface="Arial"/>
                        <a:buChar char="•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Updated national immunization guidelines and SOPs to align with health system reforms and strengthen routine delivery, especially in the absence of a vertical immunization program.</a:t>
                      </a:r>
                      <a:endParaRPr sz="950" b="0" dirty="0">
                        <a:solidFill>
                          <a:srgbClr val="000000"/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285750" marR="0" lvl="0" indent="-244475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50"/>
                        <a:buChar char="•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itchFamily="2" charset="77"/>
                          <a:cs typeface="Poppins" pitchFamily="2" charset="77"/>
                        </a:rPr>
                        <a:t>Revised law and policies to secure central budget allocations and enabled centralized vaccine procurement for essential immunization activities</a:t>
                      </a:r>
                      <a:endParaRPr sz="950" b="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4" name="Google Shape;44;p1"/>
          <p:cNvGraphicFramePr/>
          <p:nvPr/>
        </p:nvGraphicFramePr>
        <p:xfrm>
          <a:off x="5564714" y="4958788"/>
          <a:ext cx="5055113" cy="1345884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0551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0974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Poppins"/>
                        <a:buNone/>
                      </a:pPr>
                      <a:r>
                        <a:rPr lang="en-US" sz="950" dirty="0">
                          <a:solidFill>
                            <a:schemeClr val="lt1"/>
                          </a:solidFill>
                          <a:latin typeface="Poppins" pitchFamily="2" charset="77"/>
                          <a:ea typeface="Poppins"/>
                          <a:cs typeface="Poppins" pitchFamily="2" charset="77"/>
                          <a:sym typeface="Poppins"/>
                        </a:rPr>
                        <a:t>Successes and lessons learned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4822">
                <a:tc>
                  <a:txBody>
                    <a:bodyPr/>
                    <a:lstStyle/>
                    <a:p>
                      <a:pPr marL="285750" marR="0" lvl="0" indent="-2603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Strong national leadership and technical capacity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enabled recovery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285750" marR="0" lvl="0" indent="-2603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Catch-up campaigns and data-driven microplanning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effective in identifying and reaching missed children </a:t>
                      </a: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  <a:p>
                      <a:pPr marL="285750" marR="0" lvl="0" indent="-2603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Char char="•"/>
                      </a:pPr>
                      <a:r>
                        <a:rPr lang="en-US" sz="950" b="1" dirty="0">
                          <a:latin typeface="Poppins" pitchFamily="2" charset="77"/>
                          <a:cs typeface="Poppins" pitchFamily="2" charset="77"/>
                        </a:rPr>
                        <a:t>Integration of immunization into primary health care</a:t>
                      </a:r>
                      <a:r>
                        <a:rPr lang="en-US" sz="950" dirty="0">
                          <a:latin typeface="Poppins" pitchFamily="2" charset="77"/>
                          <a:cs typeface="Poppins" pitchFamily="2" charset="77"/>
                        </a:rPr>
                        <a:t> supports long-term sustainability but requires continued investment in local ownership and coordination.</a:t>
                      </a:r>
                      <a:endParaRPr sz="950" dirty="0">
                        <a:solidFill>
                          <a:srgbClr val="596568"/>
                        </a:solidFill>
                        <a:latin typeface="Poppins" pitchFamily="2" charset="77"/>
                        <a:ea typeface="Poppins"/>
                        <a:cs typeface="Poppins" pitchFamily="2" charset="77"/>
                        <a:sym typeface="Poppins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50" dirty="0"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5" name="Google Shape;45;p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019774" y="77799"/>
            <a:ext cx="1188720" cy="8229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1556774" y="979211"/>
            <a:ext cx="9085826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Arial"/>
              <a:sym typeface="Arial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86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spcAft>
                <a:spcPts val="125"/>
              </a:spcAft>
              <a:defRPr/>
            </a:pPr>
            <a:r>
              <a:rPr lang="ru-RU" sz="2200" b="1" kern="0" dirty="0">
                <a:solidFill>
                  <a:srgbClr val="1070B8"/>
                </a:solidFill>
                <a:latin typeface="Poppins" pitchFamily="2" charset="77"/>
                <a:cs typeface="Poppins" pitchFamily="2" charset="77"/>
                <a:sym typeface="Arial"/>
              </a:rPr>
              <a:t>Ресублика Узбекистан</a:t>
            </a:r>
            <a:endParaRPr lang="en-US" sz="2200" b="1" kern="0" dirty="0">
              <a:solidFill>
                <a:srgbClr val="1070B8"/>
              </a:solidFill>
              <a:latin typeface="Poppins" pitchFamily="2" charset="77"/>
              <a:cs typeface="Poppins" pitchFamily="2" charset="77"/>
              <a:sym typeface="Arial"/>
            </a:endParaRP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ru-RU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Поддержание и укрепление охвата иммунизацией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ru-RU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в странах со средним уровнем дохода</a:t>
            </a:r>
            <a:endParaRPr lang="en-US" sz="1200" b="1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ru-RU" sz="1200" b="1" i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Ташкент, Узбекистан, 7–9 октября 2025 г.</a:t>
            </a:r>
            <a:endParaRPr lang="en-US" sz="1200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1446307" y="6384598"/>
            <a:ext cx="9263528" cy="503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862" y="6397488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9283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/>
        </p:nvGraphicFramePr>
        <p:xfrm>
          <a:off x="5652898" y="975134"/>
          <a:ext cx="4974954" cy="1610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43472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едущие факторы, вызывающие постоянные проблемы с охватом</a:t>
                      </a:r>
                      <a:endParaRPr lang="en-US" sz="13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231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тказы по религиозным причинам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Медицинские отводы (обоснованные и необоснованные)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Миграция населения как внутренняя так и внешняя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Слабая связь с ПМСП, особенно в семьях сезонных</a:t>
                      </a:r>
                      <a:r>
                        <a:rPr lang="ru-RU" sz="13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работников</a:t>
                      </a:r>
                      <a:endParaRPr lang="en-US" sz="13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/>
        </p:nvGraphicFramePr>
        <p:xfrm>
          <a:off x="5652898" y="2648075"/>
          <a:ext cx="4974954" cy="1579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003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оритетные потребности в оптимизации охвата (на 2026 год)</a:t>
                      </a:r>
                      <a:endParaRPr lang="en-US" sz="13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09214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силение мониторинга и кураторской поддержки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абота с населением по преимуществам иммунизаци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ыявление непривитых и </a:t>
                      </a:r>
                      <a:r>
                        <a:rPr lang="ru-RU" sz="13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недопривитых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детей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Цифровизация и использование информационных технологий в программе иммунизации</a:t>
                      </a:r>
                      <a:endParaRPr lang="en-US" sz="13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/>
        </p:nvGraphicFramePr>
        <p:xfrm>
          <a:off x="1575030" y="4289735"/>
          <a:ext cx="4506222" cy="2015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6222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3587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существленные подходы</a:t>
                      </a:r>
                      <a:endParaRPr lang="en-US" sz="13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67939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Мониторинг и кураторская поддержка</a:t>
                      </a:r>
                      <a:endParaRPr lang="en-US" sz="13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абота с сообществами (махаллями) и религиозными лидерами</a:t>
                      </a:r>
                      <a:endParaRPr lang="en-US" sz="13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Догоняющая иммунизация, кампании массовой иммунизаци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Информационная кампания по преимуществам иммунизации через СМИ, социальные сети</a:t>
                      </a:r>
                      <a:endParaRPr lang="en-US" sz="13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endParaRPr lang="en-US" sz="1300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/>
        </p:nvGraphicFramePr>
        <p:xfrm>
          <a:off x="6132944" y="4289734"/>
          <a:ext cx="4502282" cy="2015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2282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3587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latin typeface=""/>
                          <a:cs typeface="Poppins" panose="00000500000000000000" pitchFamily="2" charset="0"/>
                        </a:rPr>
                        <a:t>Успехи и извлеченные уроки</a:t>
                      </a:r>
                      <a:endParaRPr lang="en-US" sz="1300" dirty="0">
                        <a:solidFill>
                          <a:schemeClr val="bg1"/>
                        </a:solidFill>
                        <a:latin typeface="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679393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Стабильно высокий охват 95 %  </a:t>
                      </a:r>
                      <a:r>
                        <a:rPr lang="en-US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DTP3;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внедрение ВПЧ (2023), ротавирусной вакцины (2022), ПКВ (2020);</a:t>
                      </a:r>
                      <a:endParaRPr lang="en-US" sz="13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надёжные системы эпиднадзора и холодовой цепи; 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интеграция с программами раннего развития детей (</a:t>
                      </a:r>
                      <a:r>
                        <a:rPr lang="en-US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ECD) </a:t>
                      </a:r>
                      <a:r>
                        <a:rPr lang="ru-RU" sz="13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и питания в ряде регионов.</a:t>
                      </a:r>
                      <a:endParaRPr lang="en-US" sz="13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D2BBC610-215B-0FC9-5C66-708E2CFB6C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5031" y="1006865"/>
            <a:ext cx="4010633" cy="32032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C0F3C22-177B-BF64-1E3A-D93320AA4E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5194" y="143067"/>
            <a:ext cx="13716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958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E50BD-DF35-BF7E-5F51-67C7F9C0D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9DC9A7-468F-BCDD-229F-A9E86C234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Poster Wal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EFAC7A-0A85-D962-BDD1-AE09041D7E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9276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E8AD5-D8B7-9C7F-664B-EA91FF0C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er Wal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14D14-187A-9349-9168-64F2FA788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290320"/>
            <a:ext cx="10292856" cy="4846320"/>
          </a:xfrm>
        </p:spPr>
        <p:txBody>
          <a:bodyPr/>
          <a:lstStyle/>
          <a:p>
            <a:pPr marL="0" indent="0">
              <a:buNone/>
            </a:pPr>
            <a:r>
              <a:rPr lang="en-US" i="1" dirty="0"/>
              <a:t>Key questions to consider as your review posters:</a:t>
            </a:r>
          </a:p>
          <a:p>
            <a:pPr marL="0" indent="0">
              <a:buNone/>
            </a:pPr>
            <a:endParaRPr lang="en-US" i="1" dirty="0"/>
          </a:p>
          <a:p>
            <a:pPr lvl="0"/>
            <a:r>
              <a:rPr lang="en-US" b="1" dirty="0"/>
              <a:t>Challenges: </a:t>
            </a:r>
          </a:p>
          <a:p>
            <a:pPr lvl="1"/>
            <a:r>
              <a:rPr lang="en-US" dirty="0"/>
              <a:t>What key challenges seem to be common across all countries? </a:t>
            </a:r>
          </a:p>
          <a:p>
            <a:pPr lvl="1"/>
            <a:r>
              <a:rPr lang="en-US" dirty="0"/>
              <a:t>How are countries identifying the priority challenges and root causes of these challenges driving coverage declines or stagnation at lower coverage levels?</a:t>
            </a:r>
          </a:p>
          <a:p>
            <a:pPr lvl="0"/>
            <a:r>
              <a:rPr lang="en-US" b="1" dirty="0"/>
              <a:t>Interventions: </a:t>
            </a:r>
          </a:p>
          <a:p>
            <a:pPr lvl="1"/>
            <a:r>
              <a:rPr lang="en-US" dirty="0"/>
              <a:t>What similar interventions or approaches are implemented to address challenges across countries? </a:t>
            </a:r>
          </a:p>
          <a:p>
            <a:pPr lvl="1"/>
            <a:r>
              <a:rPr lang="en-US" dirty="0"/>
              <a:t>Were there unique interventions or approaches that you would like to learn more about?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390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D9C82-5117-FCE9-31FF-F9B2CC2640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108069-B079-DACC-43E2-704F109B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nch</a:t>
            </a:r>
            <a:endParaRPr lang="en-US" sz="4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1BBA56-FB5E-177E-5CF9-AB72798466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0869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8A6E9-0C54-389E-C7AD-A91A879A1B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6700D6F-91D1-F5B6-6B81-7BD6F7B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Icebreak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F7F748-11D3-8637-682F-97F1D3BD7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688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A4BDF-B810-DCCC-6F31-0B032F34A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F017482-84ED-414B-FDAE-20395C755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Session 2: </a:t>
            </a:r>
            <a:br>
              <a:rPr lang="en-US" sz="4400" dirty="0"/>
            </a:br>
            <a:r>
              <a:rPr lang="en-US" sz="4400" dirty="0"/>
              <a:t>Enablers and Barri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ADC191-7F49-BDE6-000E-2E4D59A371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508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87244-46E4-2A46-AAAA-4A2CCE73B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160" y="1117600"/>
            <a:ext cx="10972800" cy="2048859"/>
          </a:xfrm>
        </p:spPr>
        <p:txBody>
          <a:bodyPr anchor="t"/>
          <a:lstStyle/>
          <a:p>
            <a:r>
              <a:rPr lang="en-US" sz="3600" b="1" dirty="0">
                <a:latin typeface="+mn-lt"/>
              </a:rPr>
              <a:t>Understanding to what extent interventions and support to improve coverage have been successful </a:t>
            </a:r>
            <a:br>
              <a:rPr lang="en-US" sz="3600" b="1" i="1" dirty="0">
                <a:solidFill>
                  <a:schemeClr val="tx2"/>
                </a:solidFill>
                <a:latin typeface="+mn-lt"/>
              </a:rPr>
            </a:br>
            <a:r>
              <a:rPr lang="en-US" sz="3600" b="1" dirty="0">
                <a:solidFill>
                  <a:schemeClr val="accent2"/>
                </a:solidFill>
                <a:latin typeface="+mn-lt"/>
              </a:rPr>
              <a:t>– why or why not – </a:t>
            </a:r>
            <a:br>
              <a:rPr lang="en-US" sz="3600" b="1" dirty="0">
                <a:solidFill>
                  <a:schemeClr val="tx2"/>
                </a:solidFill>
                <a:latin typeface="+mn-lt"/>
              </a:rPr>
            </a:br>
            <a:r>
              <a:rPr lang="en-US" sz="3600" b="1" dirty="0">
                <a:solidFill>
                  <a:schemeClr val="accent3"/>
                </a:solidFill>
                <a:latin typeface="+mn-lt"/>
              </a:rPr>
              <a:t>and what can we learn from these successes and failures about the needs of countries going forward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291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8E4DF-DD30-85E8-F35D-EC2D1E712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8B4EA3-9C54-80EF-D514-D26EA1005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731520"/>
            <a:ext cx="10972800" cy="2048859"/>
          </a:xfrm>
        </p:spPr>
        <p:txBody>
          <a:bodyPr anchor="t"/>
          <a:lstStyle/>
          <a:p>
            <a:r>
              <a:rPr lang="en-US" sz="3600" dirty="0">
                <a:solidFill>
                  <a:schemeClr val="tx1"/>
                </a:solidFill>
                <a:latin typeface="+mn-lt"/>
              </a:rPr>
              <a:t>Understanding to what extent interventions and support to improve coverage have been successful </a:t>
            </a:r>
            <a:br>
              <a:rPr lang="en-US" sz="3600" i="1" dirty="0">
                <a:solidFill>
                  <a:schemeClr val="tx2"/>
                </a:solidFill>
                <a:latin typeface="+mn-lt"/>
              </a:rPr>
            </a:br>
            <a:br>
              <a:rPr lang="en-US" sz="3600" i="1" dirty="0">
                <a:solidFill>
                  <a:schemeClr val="tx2"/>
                </a:solidFill>
                <a:latin typeface="+mn-lt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C2FCD0-1074-C19B-304C-1F4EB7847F67}"/>
              </a:ext>
            </a:extLst>
          </p:cNvPr>
          <p:cNvSpPr txBox="1"/>
          <p:nvPr/>
        </p:nvSpPr>
        <p:spPr>
          <a:xfrm>
            <a:off x="2328920" y="3291840"/>
            <a:ext cx="7989688" cy="1877437"/>
          </a:xfrm>
          <a:prstGeom prst="rect">
            <a:avLst/>
          </a:prstGeom>
          <a:ln w="76200"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en-US" sz="4400" b="1" dirty="0">
                <a:ln w="0"/>
                <a:solidFill>
                  <a:schemeClr val="accent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w do we define success?</a:t>
            </a:r>
          </a:p>
          <a:p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708770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D7A5CA-F481-459C-8C51-A31D331FF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Welcom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EB2E49-6C71-4690-AEE0-FCC9A21FFD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3378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E9F91-BCE8-A3A0-D8B9-44F6CD95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#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4E3EF-5838-C018-0495-4743A80C9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303867"/>
            <a:ext cx="10292856" cy="3806571"/>
          </a:xfrm>
        </p:spPr>
        <p:txBody>
          <a:bodyPr/>
          <a:lstStyle/>
          <a:p>
            <a:pPr marL="514350" indent="-514350">
              <a:buClr>
                <a:schemeClr val="accent5"/>
              </a:buClr>
              <a:buSzPct val="100000"/>
              <a:buFont typeface="+mj-lt"/>
              <a:buAutoNum type="romanLcPeriod"/>
            </a:pPr>
            <a:r>
              <a:rPr lang="en-US" dirty="0"/>
              <a:t>Consider interventions or actions implemented to strengthen </a:t>
            </a:r>
            <a:r>
              <a:rPr lang="en-US" dirty="0" err="1"/>
              <a:t>immunisation</a:t>
            </a:r>
            <a:r>
              <a:rPr lang="en-US" dirty="0"/>
              <a:t> </a:t>
            </a:r>
            <a:r>
              <a:rPr lang="en-US" dirty="0" err="1"/>
              <a:t>programme</a:t>
            </a:r>
            <a:r>
              <a:rPr lang="en-US" dirty="0"/>
              <a:t> performance over the past 3-5 years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romanLcPeriod"/>
            </a:pPr>
            <a:endParaRPr lang="en-US" dirty="0"/>
          </a:p>
          <a:p>
            <a:pPr marL="514350" indent="-514350">
              <a:buClr>
                <a:schemeClr val="accent5"/>
              </a:buClr>
              <a:buSzPct val="100000"/>
              <a:buFont typeface="+mj-lt"/>
              <a:buAutoNum type="romanLcPeriod"/>
            </a:pPr>
            <a:r>
              <a:rPr lang="en-US" dirty="0"/>
              <a:t>For each intervention or action implemented, consider whether it was considered a success, partially successful, or a failure.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romanLcPeriod"/>
            </a:pPr>
            <a:endParaRPr lang="en-US" dirty="0"/>
          </a:p>
          <a:p>
            <a:pPr marL="514350" indent="-514350">
              <a:buClr>
                <a:schemeClr val="accent5"/>
              </a:buClr>
              <a:buFont typeface="+mj-lt"/>
              <a:buAutoNum type="romanLcPeriod"/>
            </a:pPr>
            <a:r>
              <a:rPr lang="en-US" dirty="0"/>
              <a:t>For each intervention, write a sticky – </a:t>
            </a:r>
            <a:r>
              <a:rPr lang="en-US" b="1" dirty="0"/>
              <a:t>country, name of intervention, what was the outcome</a:t>
            </a:r>
            <a:r>
              <a:rPr lang="en-US" dirty="0"/>
              <a:t>?</a:t>
            </a:r>
          </a:p>
          <a:p>
            <a:pPr marL="1142980" lvl="2" indent="-34290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4"/>
                </a:solidFill>
              </a:rPr>
              <a:t>Success = Green sticky</a:t>
            </a:r>
          </a:p>
          <a:p>
            <a:pPr marL="1142980" lvl="2" indent="-34290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FFC000"/>
                </a:solidFill>
              </a:rPr>
              <a:t>Partial success = Yellow sticky</a:t>
            </a:r>
          </a:p>
          <a:p>
            <a:pPr marL="1142980" lvl="2" indent="-34290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FF0000"/>
                </a:solidFill>
              </a:rPr>
              <a:t>Failure = Red sticky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692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45F261-5C25-A0F6-E17B-7333963DF4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756A2-1743-6C7B-9E52-9B773EF61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487680"/>
            <a:ext cx="10972800" cy="2048859"/>
          </a:xfrm>
        </p:spPr>
        <p:txBody>
          <a:bodyPr anchor="t"/>
          <a:lstStyle/>
          <a:p>
            <a:r>
              <a:rPr lang="en-US" sz="3600" dirty="0">
                <a:solidFill>
                  <a:schemeClr val="tx2"/>
                </a:solidFill>
                <a:latin typeface="+mn-lt"/>
              </a:rPr>
              <a:t>Understanding to what extent interventions and support to improve coverage have been successful </a:t>
            </a:r>
            <a:br>
              <a:rPr lang="en-US" sz="3600" i="1" dirty="0">
                <a:solidFill>
                  <a:schemeClr val="tx2"/>
                </a:solidFill>
                <a:latin typeface="+mn-lt"/>
              </a:rPr>
            </a:br>
            <a:r>
              <a:rPr lang="en-US" sz="3600" b="1" dirty="0">
                <a:solidFill>
                  <a:schemeClr val="tx2"/>
                </a:solidFill>
                <a:latin typeface="+mn-lt"/>
              </a:rPr>
              <a:t>– why or why not – </a:t>
            </a:r>
            <a:br>
              <a:rPr lang="en-US" sz="3600" dirty="0">
                <a:solidFill>
                  <a:schemeClr val="tx2"/>
                </a:solidFill>
                <a:latin typeface="+mn-lt"/>
              </a:rPr>
            </a:br>
            <a:br>
              <a:rPr lang="en-US" sz="3600" dirty="0">
                <a:solidFill>
                  <a:schemeClr val="tx2"/>
                </a:solidFill>
                <a:latin typeface="+mn-lt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70616A-88FB-BA97-1F91-0535054AE6D9}"/>
              </a:ext>
            </a:extLst>
          </p:cNvPr>
          <p:cNvSpPr txBox="1"/>
          <p:nvPr/>
        </p:nvSpPr>
        <p:spPr>
          <a:xfrm>
            <a:off x="642423" y="3044189"/>
            <a:ext cx="10907153" cy="2554545"/>
          </a:xfrm>
          <a:prstGeom prst="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sz="4400" b="1" dirty="0">
                <a:ln w="0"/>
                <a:solidFill>
                  <a:schemeClr val="accent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hat were the enablers and barriers </a:t>
            </a:r>
          </a:p>
          <a:p>
            <a:pPr algn="ctr"/>
            <a:r>
              <a:rPr lang="en-US" sz="4400" b="1" dirty="0">
                <a:ln w="0"/>
                <a:solidFill>
                  <a:schemeClr val="accent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o success?</a:t>
            </a:r>
          </a:p>
          <a:p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041064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BAC77-D2B9-38BF-7F8A-E4CA1FA94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#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B4A608-48E9-8367-4299-95AF9FA9C2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422400"/>
            <a:ext cx="10292856" cy="3840438"/>
          </a:xfrm>
        </p:spPr>
        <p:txBody>
          <a:bodyPr/>
          <a:lstStyle/>
          <a:p>
            <a:pPr marL="514350" indent="-514350">
              <a:buSzPct val="100000"/>
              <a:buFont typeface="+mj-lt"/>
              <a:buAutoNum type="romanLcPeriod"/>
            </a:pPr>
            <a:r>
              <a:rPr lang="en-US" dirty="0"/>
              <a:t>For each intervention, write each of the **critical** enablers and barriers to achieving the outcome on a sticky – </a:t>
            </a:r>
            <a:r>
              <a:rPr lang="en-US" b="1" dirty="0"/>
              <a:t>country name, intervention, enabler/barrier</a:t>
            </a:r>
            <a:r>
              <a:rPr lang="en-US" dirty="0"/>
              <a:t>.  </a:t>
            </a:r>
            <a:r>
              <a:rPr lang="en-US" i="1" dirty="0"/>
              <a:t>One enabler/barrier per sticky.</a:t>
            </a:r>
          </a:p>
          <a:p>
            <a:pPr marL="914391" lvl="1" indent="-514350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B050"/>
                </a:solidFill>
              </a:rPr>
              <a:t>Enabler = Green sticky</a:t>
            </a:r>
          </a:p>
          <a:p>
            <a:pPr marL="914391" lvl="1" indent="-514350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Failure = Red sticky</a:t>
            </a:r>
          </a:p>
          <a:p>
            <a:pPr marL="514350" indent="-514350">
              <a:buSzPct val="100000"/>
              <a:buFont typeface="+mj-lt"/>
              <a:buAutoNum type="romanL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7018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502B8-489C-9572-80F0-E9D1AB5A1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378889"/>
            <a:ext cx="10292856" cy="891111"/>
          </a:xfrm>
        </p:spPr>
        <p:txBody>
          <a:bodyPr anchor="b">
            <a:normAutofit/>
          </a:bodyPr>
          <a:lstStyle/>
          <a:p>
            <a:r>
              <a:rPr lang="en-US" dirty="0"/>
              <a:t>Enablers &amp; barriers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491D230D-78C3-8168-E45B-B45BB87A05D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6236335"/>
              </p:ext>
            </p:extLst>
          </p:nvPr>
        </p:nvGraphicFramePr>
        <p:xfrm>
          <a:off x="0" y="812800"/>
          <a:ext cx="12192000" cy="6045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18265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5"/>
          <p:cNvSpPr txBox="1"/>
          <p:nvPr/>
        </p:nvSpPr>
        <p:spPr>
          <a:xfrm>
            <a:off x="4729990" y="4117554"/>
            <a:ext cx="2732019" cy="1763412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 defTabSz="609630">
              <a:lnSpc>
                <a:spcPts val="2239"/>
              </a:lnSpc>
            </a:pPr>
            <a:endParaRPr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223B9C2E-1947-A881-BB1D-7E72D9C2B6BC}"/>
              </a:ext>
            </a:extLst>
          </p:cNvPr>
          <p:cNvGrpSpPr/>
          <p:nvPr/>
        </p:nvGrpSpPr>
        <p:grpSpPr>
          <a:xfrm>
            <a:off x="270692" y="1172018"/>
            <a:ext cx="3083438" cy="2443785"/>
            <a:chOff x="952890" y="1560370"/>
            <a:chExt cx="3083438" cy="2443785"/>
          </a:xfrm>
        </p:grpSpPr>
        <p:grpSp>
          <p:nvGrpSpPr>
            <p:cNvPr id="2" name="Group 2"/>
            <p:cNvGrpSpPr/>
            <p:nvPr/>
          </p:nvGrpSpPr>
          <p:grpSpPr>
            <a:xfrm>
              <a:off x="952890" y="1560370"/>
              <a:ext cx="3083438" cy="2146483"/>
              <a:chOff x="0" y="0"/>
              <a:chExt cx="1693306" cy="668848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0" y="0"/>
                <a:ext cx="1693306" cy="668848"/>
              </a:xfrm>
              <a:custGeom>
                <a:avLst/>
                <a:gdLst/>
                <a:ahLst/>
                <a:cxnLst/>
                <a:rect l="l" t="t" r="r" b="b"/>
                <a:pathLst>
                  <a:path w="1693306" h="668848">
                    <a:moveTo>
                      <a:pt x="0" y="0"/>
                    </a:moveTo>
                    <a:lnTo>
                      <a:pt x="1693306" y="0"/>
                    </a:lnTo>
                    <a:lnTo>
                      <a:pt x="1693306" y="668848"/>
                    </a:lnTo>
                    <a:lnTo>
                      <a:pt x="0" y="668848"/>
                    </a:lnTo>
                    <a:close/>
                  </a:path>
                </a:pathLst>
              </a:custGeom>
              <a:solidFill>
                <a:srgbClr val="1070B8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0" y="-47625"/>
                <a:ext cx="1693306" cy="71647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4" name="Group 14"/>
            <p:cNvGrpSpPr/>
            <p:nvPr/>
          </p:nvGrpSpPr>
          <p:grpSpPr>
            <a:xfrm>
              <a:off x="1128600" y="1686443"/>
              <a:ext cx="2732019" cy="1893027"/>
              <a:chOff x="0" y="0"/>
              <a:chExt cx="1500320" cy="652158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0" y="0"/>
                <a:ext cx="1500320" cy="652158"/>
              </a:xfrm>
              <a:custGeom>
                <a:avLst/>
                <a:gdLst/>
                <a:ahLst/>
                <a:cxnLst/>
                <a:rect l="l" t="t" r="r" b="b"/>
                <a:pathLst>
                  <a:path w="1500320" h="652158">
                    <a:moveTo>
                      <a:pt x="0" y="0"/>
                    </a:moveTo>
                    <a:lnTo>
                      <a:pt x="1500320" y="0"/>
                    </a:lnTo>
                    <a:lnTo>
                      <a:pt x="1500320" y="652158"/>
                    </a:lnTo>
                    <a:lnTo>
                      <a:pt x="0" y="652158"/>
                    </a:lnTo>
                    <a:close/>
                  </a:path>
                </a:pathLst>
              </a:custGeom>
              <a:solidFill>
                <a:schemeClr val="bg1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0" y="-47625"/>
                <a:ext cx="1500320" cy="69978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26" name="Group 26"/>
            <p:cNvGrpSpPr/>
            <p:nvPr/>
          </p:nvGrpSpPr>
          <p:grpSpPr>
            <a:xfrm>
              <a:off x="2090193" y="3700504"/>
              <a:ext cx="808833" cy="303651"/>
              <a:chOff x="0" y="0"/>
              <a:chExt cx="812800" cy="305140"/>
            </a:xfrm>
          </p:grpSpPr>
          <p:sp>
            <p:nvSpPr>
              <p:cNvPr id="27" name="Freeform 27"/>
              <p:cNvSpPr/>
              <p:nvPr/>
            </p:nvSpPr>
            <p:spPr>
              <a:xfrm>
                <a:off x="0" y="0"/>
                <a:ext cx="812800" cy="3051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305140">
                    <a:moveTo>
                      <a:pt x="406400" y="305140"/>
                    </a:moveTo>
                    <a:lnTo>
                      <a:pt x="812800" y="0"/>
                    </a:lnTo>
                    <a:lnTo>
                      <a:pt x="0" y="0"/>
                    </a:lnTo>
                    <a:lnTo>
                      <a:pt x="406400" y="305140"/>
                    </a:lnTo>
                    <a:close/>
                  </a:path>
                </a:pathLst>
              </a:custGeom>
              <a:solidFill>
                <a:srgbClr val="1070B8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127000" y="-25829"/>
                <a:ext cx="558800" cy="18929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56" name="TextBox 56"/>
            <p:cNvSpPr txBox="1"/>
            <p:nvPr/>
          </p:nvSpPr>
          <p:spPr>
            <a:xfrm>
              <a:off x="1128598" y="1689083"/>
              <a:ext cx="2732019" cy="2516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609630">
                <a:lnSpc>
                  <a:spcPts val="2053"/>
                </a:lnSpc>
              </a:pPr>
              <a:r>
                <a:rPr lang="en-US" sz="1466" b="1" u="sng" dirty="0">
                  <a:solidFill>
                    <a:srgbClr val="212D37"/>
                  </a:solidFill>
                  <a:latin typeface="Poppins Semi-Bold"/>
                  <a:ea typeface="Poppins Semi-Bold"/>
                  <a:cs typeface="Poppins Semi-Bold"/>
                  <a:sym typeface="Poppins Semi-Bold"/>
                </a:rPr>
                <a:t>Was the intervention successful? </a:t>
              </a:r>
            </a:p>
          </p:txBody>
        </p:sp>
        <p:sp>
          <p:nvSpPr>
            <p:cNvPr id="60" name="TextBox 60"/>
            <p:cNvSpPr txBox="1"/>
            <p:nvPr/>
          </p:nvSpPr>
          <p:spPr>
            <a:xfrm>
              <a:off x="1252609" y="1948379"/>
              <a:ext cx="2534738" cy="16264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1679"/>
                </a:lnSpc>
              </a:pPr>
              <a:r>
                <a:rPr lang="en-US" sz="1199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“Yes” = Green note</a:t>
              </a:r>
            </a:p>
            <a:p>
              <a:pPr defTabSz="609630">
                <a:lnSpc>
                  <a:spcPts val="1679"/>
                </a:lnSpc>
              </a:pPr>
              <a:r>
                <a:rPr lang="en-US" sz="1199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“No” =  Red note</a:t>
              </a:r>
            </a:p>
            <a:p>
              <a:pPr defTabSz="609630">
                <a:lnSpc>
                  <a:spcPts val="1679"/>
                </a:lnSpc>
              </a:pPr>
              <a:r>
                <a:rPr lang="en-US" sz="1199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“Partially” = Yellow note</a:t>
              </a:r>
            </a:p>
            <a:p>
              <a:pPr algn="ctr" defTabSz="609630">
                <a:spcAft>
                  <a:spcPts val="300"/>
                </a:spcAft>
              </a:pPr>
              <a:endParaRPr lang="en-US" sz="500" i="1" dirty="0">
                <a:solidFill>
                  <a:srgbClr val="1E2D4F"/>
                </a:solidFill>
                <a:latin typeface="Poppins Medium"/>
                <a:ea typeface="Poppins Medium"/>
                <a:cs typeface="Poppins Medium"/>
                <a:sym typeface="Poppins Medium"/>
              </a:endParaRPr>
            </a:p>
            <a:p>
              <a:pPr algn="ctr" defTabSz="609630">
                <a:lnSpc>
                  <a:spcPts val="1679"/>
                </a:lnSpc>
                <a:spcAft>
                  <a:spcPts val="300"/>
                </a:spcAft>
              </a:pPr>
              <a:r>
                <a:rPr lang="en-US" sz="1100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Please include country name and name of the intervention on all notes (including for enablers &amp; barriers) </a:t>
              </a:r>
            </a:p>
          </p:txBody>
        </p:sp>
      </p:grpSp>
      <p:sp>
        <p:nvSpPr>
          <p:cNvPr id="68" name="TextBox 68"/>
          <p:cNvSpPr txBox="1"/>
          <p:nvPr/>
        </p:nvSpPr>
        <p:spPr>
          <a:xfrm>
            <a:off x="570411" y="226508"/>
            <a:ext cx="11051177" cy="6067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4854"/>
              </a:lnSpc>
            </a:pPr>
            <a:r>
              <a:rPr lang="en-US" sz="4000" b="1" spc="76" dirty="0">
                <a:solidFill>
                  <a:srgbClr val="1070B8"/>
                </a:solidFill>
                <a:latin typeface="Poppins Semi-Bold"/>
                <a:ea typeface="Poppins Semi-Bold"/>
                <a:cs typeface="Poppins Semi-Bold"/>
                <a:sym typeface="Poppins Semi-Bold"/>
              </a:rPr>
              <a:t>Enablers &amp; Barriers to Success  </a:t>
            </a:r>
          </a:p>
        </p:txBody>
      </p:sp>
      <p:sp>
        <p:nvSpPr>
          <p:cNvPr id="69" name="TextBox 69"/>
          <p:cNvSpPr txBox="1"/>
          <p:nvPr/>
        </p:nvSpPr>
        <p:spPr>
          <a:xfrm>
            <a:off x="191052" y="771216"/>
            <a:ext cx="11740333" cy="2583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053"/>
              </a:lnSpc>
            </a:pPr>
            <a:r>
              <a:rPr lang="en-US" sz="1466" b="1" dirty="0">
                <a:solidFill>
                  <a:srgbClr val="000000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Objective:</a:t>
            </a:r>
            <a:r>
              <a:rPr lang="en-US" sz="1466" dirty="0">
                <a:solidFill>
                  <a:srgbClr val="000000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 To identify the enablers and barriers contributing to the successes or failures of interventions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90AE1E2-E80C-E015-EB8B-0477A9786535}"/>
              </a:ext>
            </a:extLst>
          </p:cNvPr>
          <p:cNvGrpSpPr/>
          <p:nvPr/>
        </p:nvGrpSpPr>
        <p:grpSpPr>
          <a:xfrm>
            <a:off x="4296058" y="1433901"/>
            <a:ext cx="3083438" cy="2443785"/>
            <a:chOff x="2266181" y="1712770"/>
            <a:chExt cx="3083438" cy="2443785"/>
          </a:xfrm>
        </p:grpSpPr>
        <p:grpSp>
          <p:nvGrpSpPr>
            <p:cNvPr id="70" name="Group 2">
              <a:extLst>
                <a:ext uri="{FF2B5EF4-FFF2-40B4-BE49-F238E27FC236}">
                  <a16:creationId xmlns:a16="http://schemas.microsoft.com/office/drawing/2014/main" id="{2B5698D5-9B21-5D68-7B86-772FA8ADC924}"/>
                </a:ext>
              </a:extLst>
            </p:cNvPr>
            <p:cNvGrpSpPr/>
            <p:nvPr/>
          </p:nvGrpSpPr>
          <p:grpSpPr>
            <a:xfrm>
              <a:off x="2266181" y="1712770"/>
              <a:ext cx="3083438" cy="2146483"/>
              <a:chOff x="0" y="0"/>
              <a:chExt cx="1693306" cy="668848"/>
            </a:xfrm>
          </p:grpSpPr>
          <p:sp>
            <p:nvSpPr>
              <p:cNvPr id="71" name="Freeform 3">
                <a:extLst>
                  <a:ext uri="{FF2B5EF4-FFF2-40B4-BE49-F238E27FC236}">
                    <a16:creationId xmlns:a16="http://schemas.microsoft.com/office/drawing/2014/main" id="{397FE1FF-67F6-5F58-56F2-082C459CDCC4}"/>
                  </a:ext>
                </a:extLst>
              </p:cNvPr>
              <p:cNvSpPr/>
              <p:nvPr/>
            </p:nvSpPr>
            <p:spPr>
              <a:xfrm>
                <a:off x="0" y="0"/>
                <a:ext cx="1693306" cy="668848"/>
              </a:xfrm>
              <a:custGeom>
                <a:avLst/>
                <a:gdLst/>
                <a:ahLst/>
                <a:cxnLst/>
                <a:rect l="l" t="t" r="r" b="b"/>
                <a:pathLst>
                  <a:path w="1693306" h="668848">
                    <a:moveTo>
                      <a:pt x="0" y="0"/>
                    </a:moveTo>
                    <a:lnTo>
                      <a:pt x="1693306" y="0"/>
                    </a:lnTo>
                    <a:lnTo>
                      <a:pt x="1693306" y="668848"/>
                    </a:lnTo>
                    <a:lnTo>
                      <a:pt x="0" y="668848"/>
                    </a:lnTo>
                    <a:close/>
                  </a:path>
                </a:pathLst>
              </a:custGeom>
              <a:solidFill>
                <a:srgbClr val="13A89E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2" name="TextBox 4">
                <a:extLst>
                  <a:ext uri="{FF2B5EF4-FFF2-40B4-BE49-F238E27FC236}">
                    <a16:creationId xmlns:a16="http://schemas.microsoft.com/office/drawing/2014/main" id="{87501F1D-7152-8092-5DA2-50ACF312DEF3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693306" cy="71647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73" name="Group 14">
              <a:extLst>
                <a:ext uri="{FF2B5EF4-FFF2-40B4-BE49-F238E27FC236}">
                  <a16:creationId xmlns:a16="http://schemas.microsoft.com/office/drawing/2014/main" id="{8E5F2DA2-5F2F-1C2B-1F3A-759B5EE75E73}"/>
                </a:ext>
              </a:extLst>
            </p:cNvPr>
            <p:cNvGrpSpPr/>
            <p:nvPr/>
          </p:nvGrpSpPr>
          <p:grpSpPr>
            <a:xfrm>
              <a:off x="2441891" y="1838843"/>
              <a:ext cx="2732019" cy="1893027"/>
              <a:chOff x="0" y="0"/>
              <a:chExt cx="1500320" cy="652158"/>
            </a:xfrm>
          </p:grpSpPr>
          <p:sp>
            <p:nvSpPr>
              <p:cNvPr id="74" name="Freeform 15">
                <a:extLst>
                  <a:ext uri="{FF2B5EF4-FFF2-40B4-BE49-F238E27FC236}">
                    <a16:creationId xmlns:a16="http://schemas.microsoft.com/office/drawing/2014/main" id="{FAE23C6C-9B60-99F7-CE92-420E51B4AEBB}"/>
                  </a:ext>
                </a:extLst>
              </p:cNvPr>
              <p:cNvSpPr/>
              <p:nvPr/>
            </p:nvSpPr>
            <p:spPr>
              <a:xfrm>
                <a:off x="0" y="0"/>
                <a:ext cx="1500320" cy="652158"/>
              </a:xfrm>
              <a:custGeom>
                <a:avLst/>
                <a:gdLst/>
                <a:ahLst/>
                <a:cxnLst/>
                <a:rect l="l" t="t" r="r" b="b"/>
                <a:pathLst>
                  <a:path w="1500320" h="652158">
                    <a:moveTo>
                      <a:pt x="0" y="0"/>
                    </a:moveTo>
                    <a:lnTo>
                      <a:pt x="1500320" y="0"/>
                    </a:lnTo>
                    <a:lnTo>
                      <a:pt x="1500320" y="652158"/>
                    </a:lnTo>
                    <a:lnTo>
                      <a:pt x="0" y="65215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5" name="TextBox 16">
                <a:extLst>
                  <a:ext uri="{FF2B5EF4-FFF2-40B4-BE49-F238E27FC236}">
                    <a16:creationId xmlns:a16="http://schemas.microsoft.com/office/drawing/2014/main" id="{26A14338-A79A-FDF1-36B8-3730192B247C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500320" cy="69978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76" name="Group 26">
              <a:extLst>
                <a:ext uri="{FF2B5EF4-FFF2-40B4-BE49-F238E27FC236}">
                  <a16:creationId xmlns:a16="http://schemas.microsoft.com/office/drawing/2014/main" id="{452F1753-AAE5-73FA-1845-3B0C92277ED5}"/>
                </a:ext>
              </a:extLst>
            </p:cNvPr>
            <p:cNvGrpSpPr/>
            <p:nvPr/>
          </p:nvGrpSpPr>
          <p:grpSpPr>
            <a:xfrm>
              <a:off x="3403484" y="3852904"/>
              <a:ext cx="808833" cy="303651"/>
              <a:chOff x="0" y="0"/>
              <a:chExt cx="812800" cy="305140"/>
            </a:xfrm>
          </p:grpSpPr>
          <p:sp>
            <p:nvSpPr>
              <p:cNvPr id="77" name="Freeform 27">
                <a:extLst>
                  <a:ext uri="{FF2B5EF4-FFF2-40B4-BE49-F238E27FC236}">
                    <a16:creationId xmlns:a16="http://schemas.microsoft.com/office/drawing/2014/main" id="{C3A01B3F-3D94-7D95-A157-0AECB80BEE25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3051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305140">
                    <a:moveTo>
                      <a:pt x="406400" y="305140"/>
                    </a:moveTo>
                    <a:lnTo>
                      <a:pt x="812800" y="0"/>
                    </a:lnTo>
                    <a:lnTo>
                      <a:pt x="0" y="0"/>
                    </a:lnTo>
                    <a:lnTo>
                      <a:pt x="406400" y="305140"/>
                    </a:lnTo>
                    <a:close/>
                  </a:path>
                </a:pathLst>
              </a:custGeom>
              <a:solidFill>
                <a:srgbClr val="13A89E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8" name="TextBox 28">
                <a:extLst>
                  <a:ext uri="{FF2B5EF4-FFF2-40B4-BE49-F238E27FC236}">
                    <a16:creationId xmlns:a16="http://schemas.microsoft.com/office/drawing/2014/main" id="{9EC3285E-27F5-E2D3-0466-05E6BCFAED95}"/>
                  </a:ext>
                </a:extLst>
              </p:cNvPr>
              <p:cNvSpPr txBox="1"/>
              <p:nvPr/>
            </p:nvSpPr>
            <p:spPr>
              <a:xfrm>
                <a:off x="127000" y="-25829"/>
                <a:ext cx="558800" cy="18929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79" name="TextBox 56">
              <a:extLst>
                <a:ext uri="{FF2B5EF4-FFF2-40B4-BE49-F238E27FC236}">
                  <a16:creationId xmlns:a16="http://schemas.microsoft.com/office/drawing/2014/main" id="{0EF32873-4D79-3D24-4AA3-E39A814213C9}"/>
                </a:ext>
              </a:extLst>
            </p:cNvPr>
            <p:cNvSpPr txBox="1"/>
            <p:nvPr/>
          </p:nvSpPr>
          <p:spPr>
            <a:xfrm>
              <a:off x="2441889" y="1841483"/>
              <a:ext cx="2732019" cy="2516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609630">
                <a:lnSpc>
                  <a:spcPts val="2053"/>
                </a:lnSpc>
              </a:pPr>
              <a:r>
                <a:rPr lang="en-US" sz="1466" b="1" u="sng" dirty="0">
                  <a:solidFill>
                    <a:srgbClr val="212D37"/>
                  </a:solidFill>
                  <a:latin typeface="Poppins Semi-Bold"/>
                  <a:ea typeface="Poppins Semi-Bold"/>
                  <a:cs typeface="Poppins Semi-Bold"/>
                  <a:sym typeface="Poppins Semi-Bold"/>
                </a:rPr>
                <a:t>DEFINITION OF NEED </a:t>
              </a:r>
            </a:p>
          </p:txBody>
        </p:sp>
        <p:sp>
          <p:nvSpPr>
            <p:cNvPr id="80" name="TextBox 60">
              <a:extLst>
                <a:ext uri="{FF2B5EF4-FFF2-40B4-BE49-F238E27FC236}">
                  <a16:creationId xmlns:a16="http://schemas.microsoft.com/office/drawing/2014/main" id="{A14370FE-1AE3-D3E9-9809-462A26EBD37B}"/>
                </a:ext>
              </a:extLst>
            </p:cNvPr>
            <p:cNvSpPr txBox="1"/>
            <p:nvPr/>
          </p:nvSpPr>
          <p:spPr>
            <a:xfrm>
              <a:off x="2532598" y="2206869"/>
              <a:ext cx="2562225" cy="86363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99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Was the challenge or population need targeted by the intervention appropriate to achieve desired outcomes? 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8F8AB42-7E27-2F60-3643-31D7848E5C0B}"/>
              </a:ext>
            </a:extLst>
          </p:cNvPr>
          <p:cNvGrpSpPr/>
          <p:nvPr/>
        </p:nvGrpSpPr>
        <p:grpSpPr>
          <a:xfrm>
            <a:off x="7505876" y="1446070"/>
            <a:ext cx="3083438" cy="2443785"/>
            <a:chOff x="2266181" y="1712770"/>
            <a:chExt cx="3083438" cy="2443785"/>
          </a:xfrm>
        </p:grpSpPr>
        <p:grpSp>
          <p:nvGrpSpPr>
            <p:cNvPr id="84" name="Group 2">
              <a:extLst>
                <a:ext uri="{FF2B5EF4-FFF2-40B4-BE49-F238E27FC236}">
                  <a16:creationId xmlns:a16="http://schemas.microsoft.com/office/drawing/2014/main" id="{D6EBCA44-01BD-5A9C-E386-A44499A9573F}"/>
                </a:ext>
              </a:extLst>
            </p:cNvPr>
            <p:cNvGrpSpPr/>
            <p:nvPr/>
          </p:nvGrpSpPr>
          <p:grpSpPr>
            <a:xfrm>
              <a:off x="2266181" y="1712770"/>
              <a:ext cx="3083438" cy="2146483"/>
              <a:chOff x="0" y="0"/>
              <a:chExt cx="1693306" cy="668848"/>
            </a:xfrm>
          </p:grpSpPr>
          <p:sp>
            <p:nvSpPr>
              <p:cNvPr id="93" name="Freeform 3">
                <a:extLst>
                  <a:ext uri="{FF2B5EF4-FFF2-40B4-BE49-F238E27FC236}">
                    <a16:creationId xmlns:a16="http://schemas.microsoft.com/office/drawing/2014/main" id="{D0726D7D-9551-82A8-2D7A-BCF3F14F84E1}"/>
                  </a:ext>
                </a:extLst>
              </p:cNvPr>
              <p:cNvSpPr/>
              <p:nvPr/>
            </p:nvSpPr>
            <p:spPr>
              <a:xfrm>
                <a:off x="0" y="0"/>
                <a:ext cx="1693306" cy="668848"/>
              </a:xfrm>
              <a:custGeom>
                <a:avLst/>
                <a:gdLst/>
                <a:ahLst/>
                <a:cxnLst/>
                <a:rect l="l" t="t" r="r" b="b"/>
                <a:pathLst>
                  <a:path w="1693306" h="668848">
                    <a:moveTo>
                      <a:pt x="0" y="0"/>
                    </a:moveTo>
                    <a:lnTo>
                      <a:pt x="1693306" y="0"/>
                    </a:lnTo>
                    <a:lnTo>
                      <a:pt x="1693306" y="668848"/>
                    </a:lnTo>
                    <a:lnTo>
                      <a:pt x="0" y="668848"/>
                    </a:lnTo>
                    <a:close/>
                  </a:path>
                </a:pathLst>
              </a:custGeom>
              <a:solidFill>
                <a:srgbClr val="EF5B03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" name="TextBox 4">
                <a:extLst>
                  <a:ext uri="{FF2B5EF4-FFF2-40B4-BE49-F238E27FC236}">
                    <a16:creationId xmlns:a16="http://schemas.microsoft.com/office/drawing/2014/main" id="{A254D0F0-9A0D-8A46-2934-D1EF1FFD98A8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693306" cy="71647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85" name="Group 14">
              <a:extLst>
                <a:ext uri="{FF2B5EF4-FFF2-40B4-BE49-F238E27FC236}">
                  <a16:creationId xmlns:a16="http://schemas.microsoft.com/office/drawing/2014/main" id="{65621D95-C6B3-E650-0335-89C90131463A}"/>
                </a:ext>
              </a:extLst>
            </p:cNvPr>
            <p:cNvGrpSpPr/>
            <p:nvPr/>
          </p:nvGrpSpPr>
          <p:grpSpPr>
            <a:xfrm>
              <a:off x="2441891" y="1838843"/>
              <a:ext cx="2732019" cy="1893027"/>
              <a:chOff x="0" y="0"/>
              <a:chExt cx="1500320" cy="652158"/>
            </a:xfrm>
          </p:grpSpPr>
          <p:sp>
            <p:nvSpPr>
              <p:cNvPr id="91" name="Freeform 15">
                <a:extLst>
                  <a:ext uri="{FF2B5EF4-FFF2-40B4-BE49-F238E27FC236}">
                    <a16:creationId xmlns:a16="http://schemas.microsoft.com/office/drawing/2014/main" id="{814BA68A-AD2C-C14E-E80B-7E3C027D36D0}"/>
                  </a:ext>
                </a:extLst>
              </p:cNvPr>
              <p:cNvSpPr/>
              <p:nvPr/>
            </p:nvSpPr>
            <p:spPr>
              <a:xfrm>
                <a:off x="0" y="0"/>
                <a:ext cx="1500320" cy="652158"/>
              </a:xfrm>
              <a:custGeom>
                <a:avLst/>
                <a:gdLst/>
                <a:ahLst/>
                <a:cxnLst/>
                <a:rect l="l" t="t" r="r" b="b"/>
                <a:pathLst>
                  <a:path w="1500320" h="652158">
                    <a:moveTo>
                      <a:pt x="0" y="0"/>
                    </a:moveTo>
                    <a:lnTo>
                      <a:pt x="1500320" y="0"/>
                    </a:lnTo>
                    <a:lnTo>
                      <a:pt x="1500320" y="652158"/>
                    </a:lnTo>
                    <a:lnTo>
                      <a:pt x="0" y="65215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" name="TextBox 16">
                <a:extLst>
                  <a:ext uri="{FF2B5EF4-FFF2-40B4-BE49-F238E27FC236}">
                    <a16:creationId xmlns:a16="http://schemas.microsoft.com/office/drawing/2014/main" id="{9611EBC8-1E73-C5B1-EA14-4DC584FAF34D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500320" cy="69978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86" name="Group 26">
              <a:extLst>
                <a:ext uri="{FF2B5EF4-FFF2-40B4-BE49-F238E27FC236}">
                  <a16:creationId xmlns:a16="http://schemas.microsoft.com/office/drawing/2014/main" id="{21D8366D-FA5C-380E-2647-C431905CA453}"/>
                </a:ext>
              </a:extLst>
            </p:cNvPr>
            <p:cNvGrpSpPr/>
            <p:nvPr/>
          </p:nvGrpSpPr>
          <p:grpSpPr>
            <a:xfrm>
              <a:off x="3403484" y="3852904"/>
              <a:ext cx="808833" cy="303651"/>
              <a:chOff x="0" y="0"/>
              <a:chExt cx="812800" cy="305140"/>
            </a:xfrm>
          </p:grpSpPr>
          <p:sp>
            <p:nvSpPr>
              <p:cNvPr id="89" name="Freeform 27">
                <a:extLst>
                  <a:ext uri="{FF2B5EF4-FFF2-40B4-BE49-F238E27FC236}">
                    <a16:creationId xmlns:a16="http://schemas.microsoft.com/office/drawing/2014/main" id="{94884732-A219-438A-2827-442AB006C9C4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3051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305140">
                    <a:moveTo>
                      <a:pt x="406400" y="305140"/>
                    </a:moveTo>
                    <a:lnTo>
                      <a:pt x="812800" y="0"/>
                    </a:lnTo>
                    <a:lnTo>
                      <a:pt x="0" y="0"/>
                    </a:lnTo>
                    <a:lnTo>
                      <a:pt x="406400" y="305140"/>
                    </a:lnTo>
                    <a:close/>
                  </a:path>
                </a:pathLst>
              </a:custGeom>
              <a:solidFill>
                <a:srgbClr val="EF5B03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" name="TextBox 28">
                <a:extLst>
                  <a:ext uri="{FF2B5EF4-FFF2-40B4-BE49-F238E27FC236}">
                    <a16:creationId xmlns:a16="http://schemas.microsoft.com/office/drawing/2014/main" id="{9DA85194-16E9-B796-03BB-A4439513BB06}"/>
                  </a:ext>
                </a:extLst>
              </p:cNvPr>
              <p:cNvSpPr txBox="1"/>
              <p:nvPr/>
            </p:nvSpPr>
            <p:spPr>
              <a:xfrm>
                <a:off x="127000" y="-25829"/>
                <a:ext cx="558800" cy="18929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87" name="TextBox 56">
              <a:extLst>
                <a:ext uri="{FF2B5EF4-FFF2-40B4-BE49-F238E27FC236}">
                  <a16:creationId xmlns:a16="http://schemas.microsoft.com/office/drawing/2014/main" id="{858EE513-23E1-513E-083A-498577F08150}"/>
                </a:ext>
              </a:extLst>
            </p:cNvPr>
            <p:cNvSpPr txBox="1"/>
            <p:nvPr/>
          </p:nvSpPr>
          <p:spPr>
            <a:xfrm>
              <a:off x="2441889" y="1841483"/>
              <a:ext cx="2732019" cy="2516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609630">
                <a:lnSpc>
                  <a:spcPts val="2053"/>
                </a:lnSpc>
              </a:pPr>
              <a:r>
                <a:rPr lang="en-US" sz="1466" b="1" u="sng" dirty="0">
                  <a:solidFill>
                    <a:srgbClr val="212D37"/>
                  </a:solidFill>
                  <a:latin typeface="Poppins Semi-Bold"/>
                  <a:ea typeface="Poppins Semi-Bold"/>
                  <a:cs typeface="Poppins Semi-Bold"/>
                  <a:sym typeface="Poppins Semi-Bold"/>
                </a:rPr>
                <a:t>DESIGN OF INTERVENTION </a:t>
              </a:r>
            </a:p>
          </p:txBody>
        </p:sp>
        <p:sp>
          <p:nvSpPr>
            <p:cNvPr id="88" name="TextBox 60">
              <a:extLst>
                <a:ext uri="{FF2B5EF4-FFF2-40B4-BE49-F238E27FC236}">
                  <a16:creationId xmlns:a16="http://schemas.microsoft.com/office/drawing/2014/main" id="{A406DAC5-1F2D-CB18-06ED-DD71F5BA4FA5}"/>
                </a:ext>
              </a:extLst>
            </p:cNvPr>
            <p:cNvSpPr txBox="1"/>
            <p:nvPr/>
          </p:nvSpPr>
          <p:spPr>
            <a:xfrm>
              <a:off x="2542230" y="2206869"/>
              <a:ext cx="2524125" cy="63434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99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Was the intervention appropriate to achieve the objective of improved coverage?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C2A9CF8-3AD8-9888-5CE7-65AE0F727B46}"/>
              </a:ext>
            </a:extLst>
          </p:cNvPr>
          <p:cNvGrpSpPr/>
          <p:nvPr/>
        </p:nvGrpSpPr>
        <p:grpSpPr>
          <a:xfrm>
            <a:off x="4296058" y="3969990"/>
            <a:ext cx="3083438" cy="2443785"/>
            <a:chOff x="2266181" y="1712770"/>
            <a:chExt cx="3083438" cy="2443785"/>
          </a:xfrm>
        </p:grpSpPr>
        <p:grpSp>
          <p:nvGrpSpPr>
            <p:cNvPr id="109" name="Group 2">
              <a:extLst>
                <a:ext uri="{FF2B5EF4-FFF2-40B4-BE49-F238E27FC236}">
                  <a16:creationId xmlns:a16="http://schemas.microsoft.com/office/drawing/2014/main" id="{4C7DA2DA-E961-FC9F-3CF9-0FCC3D8F7BCD}"/>
                </a:ext>
              </a:extLst>
            </p:cNvPr>
            <p:cNvGrpSpPr/>
            <p:nvPr/>
          </p:nvGrpSpPr>
          <p:grpSpPr>
            <a:xfrm>
              <a:off x="2266181" y="1712770"/>
              <a:ext cx="3083438" cy="2146483"/>
              <a:chOff x="0" y="0"/>
              <a:chExt cx="1693306" cy="668848"/>
            </a:xfrm>
          </p:grpSpPr>
          <p:sp>
            <p:nvSpPr>
              <p:cNvPr id="118" name="Freeform 3">
                <a:extLst>
                  <a:ext uri="{FF2B5EF4-FFF2-40B4-BE49-F238E27FC236}">
                    <a16:creationId xmlns:a16="http://schemas.microsoft.com/office/drawing/2014/main" id="{5992932B-B519-1B98-B47A-4EF2947D269C}"/>
                  </a:ext>
                </a:extLst>
              </p:cNvPr>
              <p:cNvSpPr/>
              <p:nvPr/>
            </p:nvSpPr>
            <p:spPr>
              <a:xfrm>
                <a:off x="0" y="0"/>
                <a:ext cx="1693306" cy="668848"/>
              </a:xfrm>
              <a:custGeom>
                <a:avLst/>
                <a:gdLst/>
                <a:ahLst/>
                <a:cxnLst/>
                <a:rect l="l" t="t" r="r" b="b"/>
                <a:pathLst>
                  <a:path w="1693306" h="668848">
                    <a:moveTo>
                      <a:pt x="0" y="0"/>
                    </a:moveTo>
                    <a:lnTo>
                      <a:pt x="1693306" y="0"/>
                    </a:lnTo>
                    <a:lnTo>
                      <a:pt x="1693306" y="668848"/>
                    </a:lnTo>
                    <a:lnTo>
                      <a:pt x="0" y="668848"/>
                    </a:lnTo>
                    <a:close/>
                  </a:path>
                </a:pathLst>
              </a:custGeom>
              <a:solidFill>
                <a:srgbClr val="39A962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9" name="TextBox 4">
                <a:extLst>
                  <a:ext uri="{FF2B5EF4-FFF2-40B4-BE49-F238E27FC236}">
                    <a16:creationId xmlns:a16="http://schemas.microsoft.com/office/drawing/2014/main" id="{9F122A14-EA97-617F-860B-FBFEDE2D9CE1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693306" cy="71647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10" name="Group 14">
              <a:extLst>
                <a:ext uri="{FF2B5EF4-FFF2-40B4-BE49-F238E27FC236}">
                  <a16:creationId xmlns:a16="http://schemas.microsoft.com/office/drawing/2014/main" id="{EE3A1C5B-6C69-C129-365D-E01631ECB7FB}"/>
                </a:ext>
              </a:extLst>
            </p:cNvPr>
            <p:cNvGrpSpPr/>
            <p:nvPr/>
          </p:nvGrpSpPr>
          <p:grpSpPr>
            <a:xfrm>
              <a:off x="2441891" y="1838843"/>
              <a:ext cx="2732019" cy="1893027"/>
              <a:chOff x="0" y="0"/>
              <a:chExt cx="1500320" cy="652158"/>
            </a:xfrm>
          </p:grpSpPr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5905DFFA-6B79-00DE-EF87-3365EC6D5E95}"/>
                  </a:ext>
                </a:extLst>
              </p:cNvPr>
              <p:cNvSpPr/>
              <p:nvPr/>
            </p:nvSpPr>
            <p:spPr>
              <a:xfrm>
                <a:off x="0" y="0"/>
                <a:ext cx="1500320" cy="652158"/>
              </a:xfrm>
              <a:custGeom>
                <a:avLst/>
                <a:gdLst/>
                <a:ahLst/>
                <a:cxnLst/>
                <a:rect l="l" t="t" r="r" b="b"/>
                <a:pathLst>
                  <a:path w="1500320" h="652158">
                    <a:moveTo>
                      <a:pt x="0" y="0"/>
                    </a:moveTo>
                    <a:lnTo>
                      <a:pt x="1500320" y="0"/>
                    </a:lnTo>
                    <a:lnTo>
                      <a:pt x="1500320" y="652158"/>
                    </a:lnTo>
                    <a:lnTo>
                      <a:pt x="0" y="65215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7" name="TextBox 16">
                <a:extLst>
                  <a:ext uri="{FF2B5EF4-FFF2-40B4-BE49-F238E27FC236}">
                    <a16:creationId xmlns:a16="http://schemas.microsoft.com/office/drawing/2014/main" id="{027C7750-7B79-F416-4143-E0C4649AB864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500320" cy="69978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11" name="Group 26">
              <a:extLst>
                <a:ext uri="{FF2B5EF4-FFF2-40B4-BE49-F238E27FC236}">
                  <a16:creationId xmlns:a16="http://schemas.microsoft.com/office/drawing/2014/main" id="{E47AF503-EEF2-F624-E168-B1864477227F}"/>
                </a:ext>
              </a:extLst>
            </p:cNvPr>
            <p:cNvGrpSpPr/>
            <p:nvPr/>
          </p:nvGrpSpPr>
          <p:grpSpPr>
            <a:xfrm>
              <a:off x="3403484" y="3852904"/>
              <a:ext cx="808833" cy="303651"/>
              <a:chOff x="0" y="0"/>
              <a:chExt cx="812800" cy="305140"/>
            </a:xfrm>
          </p:grpSpPr>
          <p:sp>
            <p:nvSpPr>
              <p:cNvPr id="114" name="Freeform 27">
                <a:extLst>
                  <a:ext uri="{FF2B5EF4-FFF2-40B4-BE49-F238E27FC236}">
                    <a16:creationId xmlns:a16="http://schemas.microsoft.com/office/drawing/2014/main" id="{3A07EF52-81ED-C2AD-C38E-4E6541C46218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3051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305140">
                    <a:moveTo>
                      <a:pt x="406400" y="305140"/>
                    </a:moveTo>
                    <a:lnTo>
                      <a:pt x="812800" y="0"/>
                    </a:lnTo>
                    <a:lnTo>
                      <a:pt x="0" y="0"/>
                    </a:lnTo>
                    <a:lnTo>
                      <a:pt x="406400" y="305140"/>
                    </a:lnTo>
                    <a:close/>
                  </a:path>
                </a:pathLst>
              </a:custGeom>
              <a:solidFill>
                <a:srgbClr val="39A962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5" name="TextBox 28">
                <a:extLst>
                  <a:ext uri="{FF2B5EF4-FFF2-40B4-BE49-F238E27FC236}">
                    <a16:creationId xmlns:a16="http://schemas.microsoft.com/office/drawing/2014/main" id="{FF11F061-2698-975B-0B7B-B27DCF8C7565}"/>
                  </a:ext>
                </a:extLst>
              </p:cNvPr>
              <p:cNvSpPr txBox="1"/>
              <p:nvPr/>
            </p:nvSpPr>
            <p:spPr>
              <a:xfrm>
                <a:off x="127000" y="-25829"/>
                <a:ext cx="558800" cy="18929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112" name="TextBox 56">
              <a:extLst>
                <a:ext uri="{FF2B5EF4-FFF2-40B4-BE49-F238E27FC236}">
                  <a16:creationId xmlns:a16="http://schemas.microsoft.com/office/drawing/2014/main" id="{D539D13D-B51C-0410-08D7-8ED14BA7207F}"/>
                </a:ext>
              </a:extLst>
            </p:cNvPr>
            <p:cNvSpPr txBox="1"/>
            <p:nvPr/>
          </p:nvSpPr>
          <p:spPr>
            <a:xfrm>
              <a:off x="2441889" y="1841483"/>
              <a:ext cx="2732019" cy="2516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609630">
                <a:lnSpc>
                  <a:spcPts val="2053"/>
                </a:lnSpc>
              </a:pPr>
              <a:r>
                <a:rPr lang="en-US" sz="1466" b="1" u="sng" dirty="0">
                  <a:solidFill>
                    <a:srgbClr val="212D37"/>
                  </a:solidFill>
                  <a:latin typeface="Poppins Semi-Bold"/>
                  <a:ea typeface="Poppins Semi-Bold"/>
                  <a:cs typeface="Poppins Semi-Bold"/>
                  <a:sym typeface="Poppins Semi-Bold"/>
                </a:rPr>
                <a:t>IMPLEMENTATION </a:t>
              </a:r>
            </a:p>
          </p:txBody>
        </p:sp>
        <p:sp>
          <p:nvSpPr>
            <p:cNvPr id="113" name="TextBox 60">
              <a:extLst>
                <a:ext uri="{FF2B5EF4-FFF2-40B4-BE49-F238E27FC236}">
                  <a16:creationId xmlns:a16="http://schemas.microsoft.com/office/drawing/2014/main" id="{1910EB63-1820-659D-833F-42F783229C25}"/>
                </a:ext>
              </a:extLst>
            </p:cNvPr>
            <p:cNvSpPr txBox="1"/>
            <p:nvPr/>
          </p:nvSpPr>
          <p:spPr>
            <a:xfrm>
              <a:off x="2532598" y="2206869"/>
              <a:ext cx="2562225" cy="10703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99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Did implementation go as planned?</a:t>
              </a:r>
            </a:p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99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Implementation performance?</a:t>
              </a:r>
            </a:p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99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Sufficient stakeholder support or engagement? </a:t>
              </a: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C1A6D29-3A21-F3D7-A3C5-137A75D3D86E}"/>
              </a:ext>
            </a:extLst>
          </p:cNvPr>
          <p:cNvGrpSpPr/>
          <p:nvPr/>
        </p:nvGrpSpPr>
        <p:grpSpPr>
          <a:xfrm>
            <a:off x="7505876" y="3982159"/>
            <a:ext cx="3083438" cy="2443785"/>
            <a:chOff x="2266181" y="1712770"/>
            <a:chExt cx="3083438" cy="2443785"/>
          </a:xfrm>
        </p:grpSpPr>
        <p:grpSp>
          <p:nvGrpSpPr>
            <p:cNvPr id="121" name="Group 2">
              <a:extLst>
                <a:ext uri="{FF2B5EF4-FFF2-40B4-BE49-F238E27FC236}">
                  <a16:creationId xmlns:a16="http://schemas.microsoft.com/office/drawing/2014/main" id="{6538BC9A-BB77-D03D-DB70-8EB1174785AC}"/>
                </a:ext>
              </a:extLst>
            </p:cNvPr>
            <p:cNvGrpSpPr/>
            <p:nvPr/>
          </p:nvGrpSpPr>
          <p:grpSpPr>
            <a:xfrm>
              <a:off x="2266181" y="1712770"/>
              <a:ext cx="3083438" cy="2146483"/>
              <a:chOff x="0" y="0"/>
              <a:chExt cx="1693306" cy="668848"/>
            </a:xfrm>
          </p:grpSpPr>
          <p:sp>
            <p:nvSpPr>
              <p:cNvPr id="130" name="Freeform 3">
                <a:extLst>
                  <a:ext uri="{FF2B5EF4-FFF2-40B4-BE49-F238E27FC236}">
                    <a16:creationId xmlns:a16="http://schemas.microsoft.com/office/drawing/2014/main" id="{BC3B7EA3-775B-5A0A-F627-D59BBB7A1600}"/>
                  </a:ext>
                </a:extLst>
              </p:cNvPr>
              <p:cNvSpPr/>
              <p:nvPr/>
            </p:nvSpPr>
            <p:spPr>
              <a:xfrm>
                <a:off x="0" y="0"/>
                <a:ext cx="1693306" cy="668848"/>
              </a:xfrm>
              <a:custGeom>
                <a:avLst/>
                <a:gdLst/>
                <a:ahLst/>
                <a:cxnLst/>
                <a:rect l="l" t="t" r="r" b="b"/>
                <a:pathLst>
                  <a:path w="1693306" h="668848">
                    <a:moveTo>
                      <a:pt x="0" y="0"/>
                    </a:moveTo>
                    <a:lnTo>
                      <a:pt x="1693306" y="0"/>
                    </a:lnTo>
                    <a:lnTo>
                      <a:pt x="1693306" y="668848"/>
                    </a:lnTo>
                    <a:lnTo>
                      <a:pt x="0" y="668848"/>
                    </a:lnTo>
                    <a:close/>
                  </a:path>
                </a:pathLst>
              </a:custGeom>
              <a:solidFill>
                <a:srgbClr val="143642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1" name="TextBox 4">
                <a:extLst>
                  <a:ext uri="{FF2B5EF4-FFF2-40B4-BE49-F238E27FC236}">
                    <a16:creationId xmlns:a16="http://schemas.microsoft.com/office/drawing/2014/main" id="{26F33709-6AD3-5332-C7AB-627D65E2943C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693306" cy="71647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22" name="Group 14">
              <a:extLst>
                <a:ext uri="{FF2B5EF4-FFF2-40B4-BE49-F238E27FC236}">
                  <a16:creationId xmlns:a16="http://schemas.microsoft.com/office/drawing/2014/main" id="{0453CCE9-1CCB-312E-81B5-9AD44CE1F04E}"/>
                </a:ext>
              </a:extLst>
            </p:cNvPr>
            <p:cNvGrpSpPr/>
            <p:nvPr/>
          </p:nvGrpSpPr>
          <p:grpSpPr>
            <a:xfrm>
              <a:off x="2441891" y="1838843"/>
              <a:ext cx="2732019" cy="1893027"/>
              <a:chOff x="0" y="0"/>
              <a:chExt cx="1500320" cy="652158"/>
            </a:xfrm>
          </p:grpSpPr>
          <p:sp>
            <p:nvSpPr>
              <p:cNvPr id="128" name="Freeform 15">
                <a:extLst>
                  <a:ext uri="{FF2B5EF4-FFF2-40B4-BE49-F238E27FC236}">
                    <a16:creationId xmlns:a16="http://schemas.microsoft.com/office/drawing/2014/main" id="{A9C0B4D6-1284-DC2E-9F5E-B06DBC111459}"/>
                  </a:ext>
                </a:extLst>
              </p:cNvPr>
              <p:cNvSpPr/>
              <p:nvPr/>
            </p:nvSpPr>
            <p:spPr>
              <a:xfrm>
                <a:off x="0" y="0"/>
                <a:ext cx="1500320" cy="652158"/>
              </a:xfrm>
              <a:custGeom>
                <a:avLst/>
                <a:gdLst/>
                <a:ahLst/>
                <a:cxnLst/>
                <a:rect l="l" t="t" r="r" b="b"/>
                <a:pathLst>
                  <a:path w="1500320" h="652158">
                    <a:moveTo>
                      <a:pt x="0" y="0"/>
                    </a:moveTo>
                    <a:lnTo>
                      <a:pt x="1500320" y="0"/>
                    </a:lnTo>
                    <a:lnTo>
                      <a:pt x="1500320" y="652158"/>
                    </a:lnTo>
                    <a:lnTo>
                      <a:pt x="0" y="65215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9" name="TextBox 16">
                <a:extLst>
                  <a:ext uri="{FF2B5EF4-FFF2-40B4-BE49-F238E27FC236}">
                    <a16:creationId xmlns:a16="http://schemas.microsoft.com/office/drawing/2014/main" id="{CC223004-248F-B665-190F-8DFF8F636375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500320" cy="69978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23" name="Group 26">
              <a:extLst>
                <a:ext uri="{FF2B5EF4-FFF2-40B4-BE49-F238E27FC236}">
                  <a16:creationId xmlns:a16="http://schemas.microsoft.com/office/drawing/2014/main" id="{E03D4CE9-1714-138E-8FD5-64E9C965C3E5}"/>
                </a:ext>
              </a:extLst>
            </p:cNvPr>
            <p:cNvGrpSpPr/>
            <p:nvPr/>
          </p:nvGrpSpPr>
          <p:grpSpPr>
            <a:xfrm>
              <a:off x="3403484" y="3852904"/>
              <a:ext cx="808833" cy="303651"/>
              <a:chOff x="0" y="0"/>
              <a:chExt cx="812800" cy="305140"/>
            </a:xfrm>
          </p:grpSpPr>
          <p:sp>
            <p:nvSpPr>
              <p:cNvPr id="126" name="Freeform 27">
                <a:extLst>
                  <a:ext uri="{FF2B5EF4-FFF2-40B4-BE49-F238E27FC236}">
                    <a16:creationId xmlns:a16="http://schemas.microsoft.com/office/drawing/2014/main" id="{ABA621FF-CE76-981A-5B4A-7C75D5688C80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3051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305140">
                    <a:moveTo>
                      <a:pt x="406400" y="305140"/>
                    </a:moveTo>
                    <a:lnTo>
                      <a:pt x="812800" y="0"/>
                    </a:lnTo>
                    <a:lnTo>
                      <a:pt x="0" y="0"/>
                    </a:lnTo>
                    <a:lnTo>
                      <a:pt x="406400" y="305140"/>
                    </a:lnTo>
                    <a:close/>
                  </a:path>
                </a:pathLst>
              </a:custGeom>
              <a:solidFill>
                <a:srgbClr val="143642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7" name="TextBox 28">
                <a:extLst>
                  <a:ext uri="{FF2B5EF4-FFF2-40B4-BE49-F238E27FC236}">
                    <a16:creationId xmlns:a16="http://schemas.microsoft.com/office/drawing/2014/main" id="{5FA3AB43-0F2D-A6A7-37B1-1A65C23EDB4B}"/>
                  </a:ext>
                </a:extLst>
              </p:cNvPr>
              <p:cNvSpPr txBox="1"/>
              <p:nvPr/>
            </p:nvSpPr>
            <p:spPr>
              <a:xfrm>
                <a:off x="127000" y="-25829"/>
                <a:ext cx="558800" cy="18929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124" name="TextBox 56">
              <a:extLst>
                <a:ext uri="{FF2B5EF4-FFF2-40B4-BE49-F238E27FC236}">
                  <a16:creationId xmlns:a16="http://schemas.microsoft.com/office/drawing/2014/main" id="{A192AE9E-9315-1AB1-BEDF-D7D133C32C22}"/>
                </a:ext>
              </a:extLst>
            </p:cNvPr>
            <p:cNvSpPr txBox="1"/>
            <p:nvPr/>
          </p:nvSpPr>
          <p:spPr>
            <a:xfrm>
              <a:off x="2441889" y="1841483"/>
              <a:ext cx="2732019" cy="2516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609630">
                <a:lnSpc>
                  <a:spcPts val="2053"/>
                </a:lnSpc>
              </a:pPr>
              <a:r>
                <a:rPr lang="en-US" sz="1466" b="1" u="sng" dirty="0">
                  <a:solidFill>
                    <a:srgbClr val="212D37"/>
                  </a:solidFill>
                  <a:latin typeface="Poppins Semi-Bold"/>
                  <a:ea typeface="Poppins Semi-Bold"/>
                  <a:cs typeface="Poppins Semi-Bold"/>
                  <a:sym typeface="Poppins Semi-Bold"/>
                </a:rPr>
                <a:t>MONITORING &amp; MEASUREMENT </a:t>
              </a:r>
            </a:p>
          </p:txBody>
        </p:sp>
        <p:sp>
          <p:nvSpPr>
            <p:cNvPr id="125" name="TextBox 60">
              <a:extLst>
                <a:ext uri="{FF2B5EF4-FFF2-40B4-BE49-F238E27FC236}">
                  <a16:creationId xmlns:a16="http://schemas.microsoft.com/office/drawing/2014/main" id="{1FDC8148-5485-CA22-EBCE-E26EC67367D4}"/>
                </a:ext>
              </a:extLst>
            </p:cNvPr>
            <p:cNvSpPr txBox="1"/>
            <p:nvPr/>
          </p:nvSpPr>
          <p:spPr>
            <a:xfrm>
              <a:off x="2542230" y="2159244"/>
              <a:ext cx="2524125" cy="15063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00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Were the monitoring and measurement tools effective in capturing the intervention’s impact? </a:t>
              </a:r>
            </a:p>
            <a:p>
              <a:pPr marL="171450" indent="-171450" defTabSz="609630">
                <a:lnSpc>
                  <a:spcPts val="1679"/>
                </a:lnSpc>
                <a:buFont typeface="Arial" panose="020B0604020202020204" pitchFamily="34" charset="0"/>
                <a:buChar char="•"/>
              </a:pPr>
              <a:r>
                <a:rPr lang="en-US" sz="1100" i="1" dirty="0">
                  <a:solidFill>
                    <a:srgbClr val="1E2D4F"/>
                  </a:solidFill>
                  <a:latin typeface="Poppins Medium"/>
                  <a:ea typeface="Poppins Medium"/>
                  <a:cs typeface="Poppins Medium"/>
                  <a:sym typeface="Poppins Medium"/>
                </a:rPr>
                <a:t>Was there sufficient time to see the impact of interventions in the WUENIC 2024 results?</a:t>
              </a: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925AB2B9-405D-581B-2AC1-BA55004B0E06}"/>
              </a:ext>
            </a:extLst>
          </p:cNvPr>
          <p:cNvGrpSpPr/>
          <p:nvPr/>
        </p:nvGrpSpPr>
        <p:grpSpPr>
          <a:xfrm>
            <a:off x="1086240" y="3969990"/>
            <a:ext cx="3083438" cy="2455954"/>
            <a:chOff x="1419615" y="3948501"/>
            <a:chExt cx="3083438" cy="2455954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12437215-F768-85AC-7878-C2C438874594}"/>
                </a:ext>
              </a:extLst>
            </p:cNvPr>
            <p:cNvGrpSpPr/>
            <p:nvPr/>
          </p:nvGrpSpPr>
          <p:grpSpPr>
            <a:xfrm>
              <a:off x="1419615" y="3948501"/>
              <a:ext cx="3083438" cy="2455954"/>
              <a:chOff x="952890" y="1548201"/>
              <a:chExt cx="3083438" cy="2455954"/>
            </a:xfrm>
          </p:grpSpPr>
          <p:grpSp>
            <p:nvGrpSpPr>
              <p:cNvPr id="97" name="Group 2">
                <a:extLst>
                  <a:ext uri="{FF2B5EF4-FFF2-40B4-BE49-F238E27FC236}">
                    <a16:creationId xmlns:a16="http://schemas.microsoft.com/office/drawing/2014/main" id="{AA3FDC4E-5F57-E1A3-39CB-CCFCECF8BB37}"/>
                  </a:ext>
                </a:extLst>
              </p:cNvPr>
              <p:cNvGrpSpPr/>
              <p:nvPr/>
            </p:nvGrpSpPr>
            <p:grpSpPr>
              <a:xfrm>
                <a:off x="952890" y="1560370"/>
                <a:ext cx="3083438" cy="2146483"/>
                <a:chOff x="0" y="0"/>
                <a:chExt cx="1693306" cy="668848"/>
              </a:xfrm>
            </p:grpSpPr>
            <p:sp>
              <p:nvSpPr>
                <p:cNvPr id="106" name="Freeform 3">
                  <a:extLst>
                    <a:ext uri="{FF2B5EF4-FFF2-40B4-BE49-F238E27FC236}">
                      <a16:creationId xmlns:a16="http://schemas.microsoft.com/office/drawing/2014/main" id="{A29EC778-651D-9CD4-0BCF-BD720C47081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1693306" cy="668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93306" h="668848">
                      <a:moveTo>
                        <a:pt x="0" y="0"/>
                      </a:moveTo>
                      <a:lnTo>
                        <a:pt x="1693306" y="0"/>
                      </a:lnTo>
                      <a:lnTo>
                        <a:pt x="1693306" y="668848"/>
                      </a:lnTo>
                      <a:lnTo>
                        <a:pt x="0" y="668848"/>
                      </a:lnTo>
                      <a:close/>
                    </a:path>
                  </a:pathLst>
                </a:custGeom>
                <a:solidFill>
                  <a:srgbClr val="50AED6"/>
                </a:solidFill>
              </p:spPr>
              <p:txBody>
                <a:bodyPr/>
                <a:lstStyle/>
                <a:p>
                  <a:pPr defTabSz="609630"/>
                  <a:endParaRPr lang="en-US" sz="12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" name="TextBox 4">
                  <a:extLst>
                    <a:ext uri="{FF2B5EF4-FFF2-40B4-BE49-F238E27FC236}">
                      <a16:creationId xmlns:a16="http://schemas.microsoft.com/office/drawing/2014/main" id="{B7C7303D-5519-848F-61ED-3897A4FBB0B5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1693306" cy="716473"/>
                </a:xfrm>
                <a:prstGeom prst="rect">
                  <a:avLst/>
                </a:prstGeom>
              </p:spPr>
              <p:txBody>
                <a:bodyPr lIns="33867" tIns="33867" rIns="33867" bIns="33867" rtlCol="0" anchor="ctr"/>
                <a:lstStyle/>
                <a:p>
                  <a:pPr algn="ctr" defTabSz="609630">
                    <a:lnSpc>
                      <a:spcPts val="2239"/>
                    </a:lnSpc>
                  </a:pPr>
                  <a:endParaRPr sz="12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105" name="TextBox 16">
                <a:extLst>
                  <a:ext uri="{FF2B5EF4-FFF2-40B4-BE49-F238E27FC236}">
                    <a16:creationId xmlns:a16="http://schemas.microsoft.com/office/drawing/2014/main" id="{8C4ECC70-EFF3-8240-CC9D-EF82B534BD3F}"/>
                  </a:ext>
                </a:extLst>
              </p:cNvPr>
              <p:cNvSpPr txBox="1"/>
              <p:nvPr/>
            </p:nvSpPr>
            <p:spPr>
              <a:xfrm>
                <a:off x="1128600" y="1548201"/>
                <a:ext cx="2732019" cy="2031269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 defTabSz="609630">
                  <a:lnSpc>
                    <a:spcPts val="2239"/>
                  </a:lnSpc>
                </a:pPr>
                <a:endParaRPr sz="1200">
                  <a:solidFill>
                    <a:prstClr val="black"/>
                  </a:solidFill>
                  <a:latin typeface="Calibri"/>
                </a:endParaRPr>
              </a:p>
            </p:txBody>
          </p:sp>
          <p:grpSp>
            <p:nvGrpSpPr>
              <p:cNvPr id="99" name="Group 26">
                <a:extLst>
                  <a:ext uri="{FF2B5EF4-FFF2-40B4-BE49-F238E27FC236}">
                    <a16:creationId xmlns:a16="http://schemas.microsoft.com/office/drawing/2014/main" id="{6249EC9A-1418-2658-90A7-6989D9BD77A0}"/>
                  </a:ext>
                </a:extLst>
              </p:cNvPr>
              <p:cNvGrpSpPr/>
              <p:nvPr/>
            </p:nvGrpSpPr>
            <p:grpSpPr>
              <a:xfrm>
                <a:off x="2090193" y="3700504"/>
                <a:ext cx="808833" cy="303651"/>
                <a:chOff x="0" y="0"/>
                <a:chExt cx="812800" cy="305140"/>
              </a:xfrm>
            </p:grpSpPr>
            <p:sp>
              <p:nvSpPr>
                <p:cNvPr id="102" name="Freeform 27">
                  <a:extLst>
                    <a:ext uri="{FF2B5EF4-FFF2-40B4-BE49-F238E27FC236}">
                      <a16:creationId xmlns:a16="http://schemas.microsoft.com/office/drawing/2014/main" id="{62165C13-15C1-A02E-CFEE-59D09221AAE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30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305140">
                      <a:moveTo>
                        <a:pt x="406400" y="305140"/>
                      </a:moveTo>
                      <a:lnTo>
                        <a:pt x="812800" y="0"/>
                      </a:lnTo>
                      <a:lnTo>
                        <a:pt x="0" y="0"/>
                      </a:lnTo>
                      <a:lnTo>
                        <a:pt x="406400" y="305140"/>
                      </a:lnTo>
                      <a:close/>
                    </a:path>
                  </a:pathLst>
                </a:custGeom>
                <a:solidFill>
                  <a:srgbClr val="50AED6"/>
                </a:solidFill>
              </p:spPr>
              <p:txBody>
                <a:bodyPr/>
                <a:lstStyle/>
                <a:p>
                  <a:pPr defTabSz="609630"/>
                  <a:endParaRPr lang="en-US" sz="12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" name="TextBox 28">
                  <a:extLst>
                    <a:ext uri="{FF2B5EF4-FFF2-40B4-BE49-F238E27FC236}">
                      <a16:creationId xmlns:a16="http://schemas.microsoft.com/office/drawing/2014/main" id="{933C8750-66AF-034A-6883-CE7C06046E37}"/>
                    </a:ext>
                  </a:extLst>
                </p:cNvPr>
                <p:cNvSpPr txBox="1"/>
                <p:nvPr/>
              </p:nvSpPr>
              <p:spPr>
                <a:xfrm>
                  <a:off x="127000" y="-25829"/>
                  <a:ext cx="558800" cy="189297"/>
                </a:xfrm>
                <a:prstGeom prst="rect">
                  <a:avLst/>
                </a:prstGeom>
              </p:spPr>
              <p:txBody>
                <a:bodyPr lIns="33867" tIns="33867" rIns="33867" bIns="33867" rtlCol="0" anchor="ctr"/>
                <a:lstStyle/>
                <a:p>
                  <a:pPr algn="ctr" defTabSz="609630">
                    <a:lnSpc>
                      <a:spcPts val="2239"/>
                    </a:lnSpc>
                  </a:pPr>
                  <a:endParaRPr sz="12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</p:grpSp>
        <p:sp>
          <p:nvSpPr>
            <p:cNvPr id="132" name="Freeform 15">
              <a:extLst>
                <a:ext uri="{FF2B5EF4-FFF2-40B4-BE49-F238E27FC236}">
                  <a16:creationId xmlns:a16="http://schemas.microsoft.com/office/drawing/2014/main" id="{55B4CB84-A393-190F-0A2C-4BEC44029950}"/>
                </a:ext>
              </a:extLst>
            </p:cNvPr>
            <p:cNvSpPr/>
            <p:nvPr/>
          </p:nvSpPr>
          <p:spPr>
            <a:xfrm>
              <a:off x="1591391" y="4097708"/>
              <a:ext cx="2732019" cy="1893027"/>
            </a:xfrm>
            <a:custGeom>
              <a:avLst/>
              <a:gdLst/>
              <a:ahLst/>
              <a:cxnLst/>
              <a:rect l="l" t="t" r="r" b="b"/>
              <a:pathLst>
                <a:path w="1500320" h="652158">
                  <a:moveTo>
                    <a:pt x="0" y="0"/>
                  </a:moveTo>
                  <a:lnTo>
                    <a:pt x="1500320" y="0"/>
                  </a:lnTo>
                  <a:lnTo>
                    <a:pt x="1500320" y="652158"/>
                  </a:lnTo>
                  <a:lnTo>
                    <a:pt x="0" y="65215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pPr defTabSz="609630"/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33" name="TextBox 56">
            <a:extLst>
              <a:ext uri="{FF2B5EF4-FFF2-40B4-BE49-F238E27FC236}">
                <a16:creationId xmlns:a16="http://schemas.microsoft.com/office/drawing/2014/main" id="{88B40C3D-8A06-ECF0-7B17-DAB3120E2EC9}"/>
              </a:ext>
            </a:extLst>
          </p:cNvPr>
          <p:cNvSpPr txBox="1"/>
          <p:nvPr/>
        </p:nvSpPr>
        <p:spPr>
          <a:xfrm>
            <a:off x="1279949" y="4117554"/>
            <a:ext cx="2732019" cy="2516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053"/>
              </a:lnSpc>
            </a:pPr>
            <a:r>
              <a:rPr lang="en-US" sz="1466" b="1" u="sng" dirty="0">
                <a:solidFill>
                  <a:srgbClr val="212D37"/>
                </a:solidFill>
                <a:latin typeface="Poppins Semi-Bold"/>
                <a:ea typeface="Poppins Semi-Bold"/>
                <a:cs typeface="Poppins Semi-Bold"/>
                <a:sym typeface="Poppins Semi-Bold"/>
              </a:rPr>
              <a:t>SCOPE &amp; ALLOCATION OF INPUTS </a:t>
            </a:r>
          </a:p>
        </p:txBody>
      </p:sp>
      <p:sp>
        <p:nvSpPr>
          <p:cNvPr id="134" name="TextBox 60">
            <a:extLst>
              <a:ext uri="{FF2B5EF4-FFF2-40B4-BE49-F238E27FC236}">
                <a16:creationId xmlns:a16="http://schemas.microsoft.com/office/drawing/2014/main" id="{867005D9-025B-927A-9A95-4F537E3C949D}"/>
              </a:ext>
            </a:extLst>
          </p:cNvPr>
          <p:cNvSpPr txBox="1"/>
          <p:nvPr/>
        </p:nvSpPr>
        <p:spPr>
          <a:xfrm>
            <a:off x="1367120" y="4441680"/>
            <a:ext cx="2562225" cy="15063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71450" indent="-171450" defTabSz="609630">
              <a:lnSpc>
                <a:spcPts val="1679"/>
              </a:lnSpc>
              <a:buFont typeface="Arial" panose="020B0604020202020204" pitchFamily="34" charset="0"/>
              <a:buChar char="•"/>
            </a:pPr>
            <a:r>
              <a:rPr lang="en-US" sz="1199" i="1" dirty="0">
                <a:solidFill>
                  <a:srgbClr val="1E2D4F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cope of the intervention?</a:t>
            </a:r>
          </a:p>
          <a:p>
            <a:pPr marL="171450" indent="-171450" defTabSz="609630">
              <a:lnSpc>
                <a:spcPts val="1679"/>
              </a:lnSpc>
              <a:buFont typeface="Arial" panose="020B0604020202020204" pitchFamily="34" charset="0"/>
              <a:buChar char="•"/>
            </a:pPr>
            <a:r>
              <a:rPr lang="en-US" sz="1199" i="1" dirty="0">
                <a:solidFill>
                  <a:srgbClr val="1E2D4F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Implementation timeframe?</a:t>
            </a:r>
          </a:p>
          <a:p>
            <a:pPr marL="171450" indent="-171450" defTabSz="609630">
              <a:lnSpc>
                <a:spcPts val="1679"/>
              </a:lnSpc>
              <a:buFont typeface="Arial" panose="020B0604020202020204" pitchFamily="34" charset="0"/>
              <a:buChar char="•"/>
            </a:pPr>
            <a:r>
              <a:rPr lang="en-US" sz="1199" i="1" dirty="0">
                <a:solidFill>
                  <a:srgbClr val="1E2D4F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ufficient human, financial, and capital resources and commodities available?</a:t>
            </a:r>
          </a:p>
          <a:p>
            <a:pPr marL="171450" indent="-171450" defTabSz="609630">
              <a:lnSpc>
                <a:spcPts val="1679"/>
              </a:lnSpc>
              <a:buFont typeface="Arial" panose="020B0604020202020204" pitchFamily="34" charset="0"/>
              <a:buChar char="•"/>
            </a:pPr>
            <a:r>
              <a:rPr lang="en-US" sz="1199" i="1" dirty="0">
                <a:solidFill>
                  <a:srgbClr val="1E2D4F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ufficient technical advisory support?</a:t>
            </a:r>
          </a:p>
        </p:txBody>
      </p:sp>
      <p:sp>
        <p:nvSpPr>
          <p:cNvPr id="138" name="Right Brace 137">
            <a:extLst>
              <a:ext uri="{FF2B5EF4-FFF2-40B4-BE49-F238E27FC236}">
                <a16:creationId xmlns:a16="http://schemas.microsoft.com/office/drawing/2014/main" id="{D68D16E1-E2EF-E7EA-99A9-C731A5A4EC15}"/>
              </a:ext>
            </a:extLst>
          </p:cNvPr>
          <p:cNvSpPr/>
          <p:nvPr/>
        </p:nvSpPr>
        <p:spPr>
          <a:xfrm>
            <a:off x="10689653" y="1446070"/>
            <a:ext cx="359347" cy="4650520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E0D3F1D-2216-CE78-F3B8-78D912BD1FA6}"/>
              </a:ext>
            </a:extLst>
          </p:cNvPr>
          <p:cNvSpPr/>
          <p:nvPr/>
        </p:nvSpPr>
        <p:spPr>
          <a:xfrm rot="5400000">
            <a:off x="10028889" y="3476648"/>
            <a:ext cx="2828927" cy="520114"/>
          </a:xfrm>
          <a:prstGeom prst="rect">
            <a:avLst/>
          </a:prstGeom>
          <a:solidFill>
            <a:srgbClr val="1070B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tages of implementation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697EF07-1E60-8A16-799E-377F3110774D}"/>
              </a:ext>
            </a:extLst>
          </p:cNvPr>
          <p:cNvSpPr/>
          <p:nvPr/>
        </p:nvSpPr>
        <p:spPr>
          <a:xfrm>
            <a:off x="4031007" y="3043624"/>
            <a:ext cx="2237228" cy="694792"/>
          </a:xfrm>
          <a:prstGeom prst="rect">
            <a:avLst/>
          </a:prstGeom>
          <a:solidFill>
            <a:schemeClr val="bg1"/>
          </a:solidFill>
          <a:ln>
            <a:solidFill>
              <a:srgbClr val="66666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“Enablers” = Green note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“Barriers” = Red note</a:t>
            </a:r>
          </a:p>
        </p:txBody>
      </p: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9D14DF84-16B1-DEDE-5AE3-D402ACA027A0}"/>
              </a:ext>
            </a:extLst>
          </p:cNvPr>
          <p:cNvCxnSpPr>
            <a:cxnSpLocks/>
            <a:stCxn id="142" idx="1"/>
          </p:cNvCxnSpPr>
          <p:nvPr/>
        </p:nvCxnSpPr>
        <p:spPr>
          <a:xfrm flipH="1" flipV="1">
            <a:off x="3004193" y="2939197"/>
            <a:ext cx="1026814" cy="451823"/>
          </a:xfrm>
          <a:prstGeom prst="straightConnector1">
            <a:avLst/>
          </a:prstGeom>
          <a:ln w="19050">
            <a:solidFill>
              <a:srgbClr val="6666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>
            <a:extLst>
              <a:ext uri="{FF2B5EF4-FFF2-40B4-BE49-F238E27FC236}">
                <a16:creationId xmlns:a16="http://schemas.microsoft.com/office/drawing/2014/main" id="{D6BB3C6A-6A40-BBD5-C4E5-F9038AF65CA3}"/>
              </a:ext>
            </a:extLst>
          </p:cNvPr>
          <p:cNvSpPr/>
          <p:nvPr/>
        </p:nvSpPr>
        <p:spPr>
          <a:xfrm>
            <a:off x="8426054" y="2838708"/>
            <a:ext cx="2622946" cy="559167"/>
          </a:xfrm>
          <a:prstGeom prst="rect">
            <a:avLst/>
          </a:prstGeom>
          <a:solidFill>
            <a:schemeClr val="bg1"/>
          </a:solidFill>
          <a:ln>
            <a:solidFill>
              <a:srgbClr val="66666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Medium" panose="00000600000000000000" pitchFamily="2" charset="0"/>
                <a:ea typeface="+mn-ea"/>
                <a:cs typeface="Poppins Medium" panose="00000600000000000000" pitchFamily="2" charset="0"/>
              </a:rPr>
              <a:t>Illustrative questions to consider within each topic, should not be seen as limiting</a:t>
            </a: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EE227A78-690D-E1AE-A6CF-F1113D025234}"/>
              </a:ext>
            </a:extLst>
          </p:cNvPr>
          <p:cNvCxnSpPr>
            <a:cxnSpLocks/>
          </p:cNvCxnSpPr>
          <p:nvPr/>
        </p:nvCxnSpPr>
        <p:spPr>
          <a:xfrm flipH="1">
            <a:off x="6634367" y="2960319"/>
            <a:ext cx="1791687" cy="1515939"/>
          </a:xfrm>
          <a:prstGeom prst="straightConnector1">
            <a:avLst/>
          </a:prstGeom>
          <a:ln w="19050">
            <a:solidFill>
              <a:srgbClr val="6666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5153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CE139-C2F5-6B46-FED7-8E2B53A99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C69577-7762-F087-67CB-5DB2A2B738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371600"/>
            <a:ext cx="10292856" cy="45466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ell me about your experience during this analysis exerci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at aspects were particularly challenging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id it change your perspective on an intervention or the implementation experience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id anything surprise you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id you learn anything new?</a:t>
            </a:r>
          </a:p>
        </p:txBody>
      </p:sp>
    </p:spTree>
    <p:extLst>
      <p:ext uri="{BB962C8B-B14F-4D97-AF65-F5344CB8AC3E}">
        <p14:creationId xmlns:p14="http://schemas.microsoft.com/office/powerpoint/2010/main" val="9027225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2B3EF-ACD4-7AFF-1CF5-17D2733E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fle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B144DE-A15D-709B-8C82-74B944C67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1399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F783D20-4E82-4349-A303-902F4B82358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7" r="18037"/>
          <a:stretch/>
        </p:blipFill>
        <p:spPr>
          <a:xfrm>
            <a:off x="4920463" y="-31424"/>
            <a:ext cx="7287620" cy="688028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9CB2DC-1B5A-48B9-B1BA-7BBC7939507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47200" y="6335713"/>
            <a:ext cx="2844800" cy="365125"/>
          </a:xfrm>
          <a:prstGeom prst="rect">
            <a:avLst/>
          </a:prstGeom>
        </p:spPr>
        <p:txBody>
          <a:bodyPr/>
          <a:lstStyle/>
          <a:p>
            <a:fld id="{F32F67E5-730B-4B3A-9A58-41E5E3F0691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7B7F8B-EEAD-40D1-9CA9-464FE904FA5F}"/>
              </a:ext>
            </a:extLst>
          </p:cNvPr>
          <p:cNvSpPr txBox="1">
            <a:spLocks/>
          </p:cNvSpPr>
          <p:nvPr/>
        </p:nvSpPr>
        <p:spPr>
          <a:xfrm>
            <a:off x="949572" y="1815643"/>
            <a:ext cx="6901206" cy="1312911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spcBef>
                <a:spcPct val="0"/>
              </a:spcBef>
              <a:buNone/>
              <a:defRPr sz="4400" b="0" i="0" kern="1200">
                <a:solidFill>
                  <a:schemeClr val="accent5"/>
                </a:solidFill>
                <a:latin typeface="Museo Sans 500"/>
                <a:ea typeface="+mj-ea"/>
                <a:cs typeface="Museo Sans 50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  <a:latin typeface="Poppins SemiBold"/>
              </a:rPr>
              <a:t>Conclusion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71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3B1B0D8-5763-C560-1D14-96584E65D85A}"/>
              </a:ext>
            </a:extLst>
          </p:cNvPr>
          <p:cNvSpPr txBox="1"/>
          <p:nvPr/>
        </p:nvSpPr>
        <p:spPr>
          <a:xfrm>
            <a:off x="992459" y="1527717"/>
            <a:ext cx="1037063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Dr. Bakhodir </a:t>
            </a:r>
            <a:r>
              <a:rPr lang="en-US" sz="4400" b="1" dirty="0" err="1"/>
              <a:t>Yusupaliev</a:t>
            </a:r>
            <a:endParaRPr lang="en-US" sz="3600" dirty="0"/>
          </a:p>
          <a:p>
            <a:pPr algn="ctr"/>
            <a:r>
              <a:rPr lang="en-US" sz="3600" i="1" dirty="0"/>
              <a:t>Chairman </a:t>
            </a:r>
          </a:p>
          <a:p>
            <a:pPr algn="ctr"/>
            <a:r>
              <a:rPr lang="en-US" sz="3600" i="1" dirty="0"/>
              <a:t>Committee for Sanitary Epidemiological Wellbeing and Public Health</a:t>
            </a:r>
          </a:p>
          <a:p>
            <a:pPr algn="ctr"/>
            <a:endParaRPr lang="en-US" sz="3600" dirty="0"/>
          </a:p>
          <a:p>
            <a:pPr algn="ctr"/>
            <a:r>
              <a:rPr lang="en-US" sz="3600" dirty="0"/>
              <a:t>Uzbekistan</a:t>
            </a:r>
          </a:p>
        </p:txBody>
      </p:sp>
    </p:spTree>
    <p:extLst>
      <p:ext uri="{BB962C8B-B14F-4D97-AF65-F5344CB8AC3E}">
        <p14:creationId xmlns:p14="http://schemas.microsoft.com/office/powerpoint/2010/main" val="1122450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4E38F-4123-3D26-AEB8-DBCEA9172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0B23EA-F995-CF5C-03E0-FBDE6BB0E375}"/>
              </a:ext>
            </a:extLst>
          </p:cNvPr>
          <p:cNvSpPr txBox="1"/>
          <p:nvPr/>
        </p:nvSpPr>
        <p:spPr>
          <a:xfrm>
            <a:off x="992459" y="1527717"/>
            <a:ext cx="10370634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Adriana Jimenez-Cuen</a:t>
            </a:r>
          </a:p>
          <a:p>
            <a:pPr algn="ctr"/>
            <a:r>
              <a:rPr lang="en-US" sz="3600" i="1" dirty="0"/>
              <a:t>Director </a:t>
            </a:r>
          </a:p>
          <a:p>
            <a:pPr algn="ctr"/>
            <a:r>
              <a:rPr lang="en-US" sz="3600" i="1" dirty="0"/>
              <a:t>Middle-Income Countries</a:t>
            </a:r>
          </a:p>
          <a:p>
            <a:pPr algn="ctr"/>
            <a:endParaRPr lang="en-US" sz="3600" dirty="0"/>
          </a:p>
          <a:p>
            <a:pPr algn="ctr"/>
            <a:r>
              <a:rPr lang="en-US" sz="3600" dirty="0"/>
              <a:t>Gavi, the Vaccine Alliance</a:t>
            </a:r>
          </a:p>
        </p:txBody>
      </p:sp>
    </p:spTree>
    <p:extLst>
      <p:ext uri="{BB962C8B-B14F-4D97-AF65-F5344CB8AC3E}">
        <p14:creationId xmlns:p14="http://schemas.microsoft.com/office/powerpoint/2010/main" val="3550902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4AEC43-645A-16EB-F2D6-9D9BC1BC4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8B9752B-9CAA-4085-B44C-830128CB6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ssion 1: </a:t>
            </a:r>
            <a:br>
              <a:rPr lang="en-US" dirty="0"/>
            </a:br>
            <a:r>
              <a:rPr lang="en-US" dirty="0"/>
              <a:t>Country Introductions</a:t>
            </a:r>
            <a:endParaRPr lang="en-US" sz="4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5C8E18-9F05-9951-DC99-9E5A28FD9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864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1564149" y="979211"/>
            <a:ext cx="9063703" cy="5418276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Arial"/>
              <a:sym typeface="Arial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86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spcAft>
                <a:spcPts val="125"/>
              </a:spcAft>
              <a:defRPr/>
            </a:pPr>
            <a:r>
              <a:rPr lang="en-US" sz="2200" b="1" dirty="0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Bolivia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Sustaining and Strengthening Immunization Coverage 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in Middle-Income </a:t>
            </a:r>
            <a:r>
              <a:rPr lang="en-US" sz="1200" b="1" kern="0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</a:t>
            </a:r>
            <a:r>
              <a:rPr lang="en-US" sz="1200" b="1" dirty="0" err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ountries</a:t>
            </a:r>
            <a:endParaRPr lang="en-US" sz="1200" b="1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defRPr/>
            </a:pPr>
            <a:r>
              <a:rPr lang="en-US" sz="1200" b="1" i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Tashkent, Uzbekistan, 07-09 October 2025</a:t>
            </a:r>
            <a:endParaRPr lang="en-US" sz="1200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1524000" y="6360031"/>
            <a:ext cx="9144000" cy="53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00" y="6397488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7811" y="6397487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/>
        </p:nvGraphicFramePr>
        <p:xfrm>
          <a:off x="5663943" y="980992"/>
          <a:ext cx="4948541" cy="1766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54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17078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44901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equal resource availability and implementation of strategies between departments, reflected in significant coverage disparit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sufficient human resources at all levels, with high staff turnov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sufficient funding and lack of dedicated immunization budget at the local leve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eightened misinformation and vaccine hesitancy during and following COVID-19 pandemic, which continues to persis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rvice disruption at healthcare units and schools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/>
        </p:nvGraphicFramePr>
        <p:xfrm>
          <a:off x="5666901" y="2783547"/>
          <a:ext cx="4945582" cy="2187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5582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21963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86516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crease the prioritization of the immunization program to hig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ssign dedicated funding to the immunization progra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crease dedicated immunization staff at all level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educe staff turnover, particularly at higher coordinating level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rain human resources of prioritized health networks and their establishm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velop local micro-planning with definition of vaccination goals, defined by network diagnose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participatory planning processes in subnational governm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estore public confidence in vaccines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/>
        </p:nvGraphicFramePr>
        <p:xfrm>
          <a:off x="1574345" y="4103018"/>
          <a:ext cx="4059406" cy="2187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940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64522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82260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omprehensive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TI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argeted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44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health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networks in 56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unicipalities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upplementing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gram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ctivities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lectronic Nominal Vaccination Registry has been implemen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urrently in the midst of a critical measles outbreak, and control measures being implemen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/>
        </p:nvGraphicFramePr>
        <p:xfrm>
          <a:off x="5663634" y="5011390"/>
          <a:ext cx="4948541" cy="1284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54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02837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98174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pulation census conducted in 2024 to be incorporated into WUENIC data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ortance of political support, trained human resources, well coordinated and well funded health system.</a:t>
                      </a:r>
                      <a:endParaRPr lang="en-US" sz="10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B0ED085C-0B1A-9F0C-BF30-0C7C28383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4149" y="986726"/>
            <a:ext cx="4059406" cy="30572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pic>
        <p:nvPicPr>
          <p:cNvPr id="1030" name="Picture 6" descr="State flag">
            <a:extLst>
              <a:ext uri="{FF2B5EF4-FFF2-40B4-BE49-F238E27FC236}">
                <a16:creationId xmlns:a16="http://schemas.microsoft.com/office/drawing/2014/main" id="{DA4D8558-89D3-19AC-1B18-9F638CF0E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0623" y="45559"/>
            <a:ext cx="1280160" cy="84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0475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1556775" y="1036941"/>
            <a:ext cx="9085825" cy="535974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Arial"/>
              <a:sym typeface="Arial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8381" y="4994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spcAft>
                <a:spcPts val="125"/>
              </a:spcAft>
              <a:defRPr/>
            </a:pPr>
            <a:r>
              <a:rPr lang="en-US" sz="2200" b="1" kern="0" dirty="0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Georgia</a:t>
            </a:r>
            <a:endParaRPr lang="en-US" sz="2200" b="1" dirty="0">
              <a:solidFill>
                <a:srgbClr val="1070B8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Sustaining and Strengthening Immunization Coverage 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in Middle-Income </a:t>
            </a:r>
            <a:r>
              <a:rPr lang="en-US" sz="1200" b="1" kern="0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</a:t>
            </a:r>
            <a:r>
              <a:rPr lang="en-US" sz="1200" b="1" dirty="0" err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ountries</a:t>
            </a:r>
            <a:endParaRPr lang="en-US" sz="1200" b="1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defRPr/>
            </a:pPr>
            <a:r>
              <a:rPr lang="en-US" sz="1200" b="1" i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Tashkent, Uzbekistan, 07-09 October 2025</a:t>
            </a:r>
            <a:endParaRPr lang="en-US" sz="1200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1524000" y="6384598"/>
            <a:ext cx="9185835" cy="503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862" y="6397488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9283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/>
        </p:nvGraphicFramePr>
        <p:xfrm>
          <a:off x="5608889" y="1049597"/>
          <a:ext cx="4990988" cy="2278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8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05167">
                <a:tc>
                  <a:txBody>
                    <a:bodyPr/>
                    <a:lstStyle/>
                    <a:p>
                      <a:pPr algn="ctr"/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738814">
                <a:tc>
                  <a:txBody>
                    <a:bodyPr/>
                    <a:lstStyle/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te registration of children at urban PHC, leading to late initiation and delayed vaccination (root causes: no patronage system, no urban geographical catchment areas, Electronic Information systems interoperability issues leading to information gap on newborns in catchment area)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ivate Insurance liability (child supervision responsibilities incl. </a:t>
                      </a:r>
                      <a:r>
                        <a:rPr lang="en-GB" sz="95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m</a:t>
                      </a: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) &amp; data sharing issues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or linkages across different state-funded schemes leading to uncertainty on target population at facility level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adequate performance feedback from public health to PHC and from PHC management to health care workers</a:t>
                      </a:r>
                      <a:endParaRPr lang="ru-RU" sz="9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ow capacity of PHC doctors, nurses in effective immunization communication</a:t>
                      </a:r>
                      <a:r>
                        <a:rPr lang="ka-GE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</a:t>
                      </a:r>
                      <a:endParaRPr lang="en-US" sz="9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/>
        </p:nvGraphicFramePr>
        <p:xfrm>
          <a:off x="5617436" y="3403442"/>
          <a:ext cx="4990987" cy="1299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7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88624">
                <a:tc>
                  <a:txBody>
                    <a:bodyPr/>
                    <a:lstStyle/>
                    <a:p>
                      <a:pPr algn="ctr"/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000561">
                <a:tc>
                  <a:txBody>
                    <a:bodyPr/>
                    <a:lstStyle/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Enforced policies ensuring newborns timely registration at PHC for proactive actions</a:t>
                      </a:r>
                    </a:p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EIR modification</a:t>
                      </a:r>
                      <a:r>
                        <a:rPr lang="ka-GE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 (</a:t>
                      </a: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incl. automatic SMS notifications), Improving linkages between electronic systems, expanding EIR access to private practitioners </a:t>
                      </a:r>
                    </a:p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Policies to ensure private insurance takes responsibilities on child supervision and shares data on covered children population list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/>
        </p:nvGraphicFramePr>
        <p:xfrm>
          <a:off x="1583579" y="3624082"/>
          <a:ext cx="3949531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953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854200">
                <a:tc>
                  <a:txBody>
                    <a:bodyPr/>
                    <a:lstStyle/>
                    <a:p>
                      <a:pPr marL="49213" indent="-42863"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Government resolution (2022) obliging PHC to register newborn within 7 days after birth. Government resolution (2025) introducing performance indicators linked to bonus payments (including MMR1 coverage) from 2026.</a:t>
                      </a:r>
                    </a:p>
                    <a:p>
                      <a:pPr marL="49213" indent="-42863"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mprovement plans developed based on several studies 2023-25: 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)Identifying un &amp; under-vaccinated children &amp; developing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icroplans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in the regions of Georgia (2023-24, WHO); 2) JEE of IHR core capacities (2024, CDC,WHO); 3) Rota &amp; PCV coverage evaluation (2024,WHO); 4) Coverage and Equity assessment with Root Cause Analysis of Backsliding and Zero Doses in 3 districts (2024,UNICEF,CIF); 5) Qual. study to inform routine vaccination interventions (2023, WHO); </a:t>
                      </a:r>
                    </a:p>
                    <a:p>
                      <a:pPr marL="49213" marR="0" lvl="0" indent="-428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Follow-up actions</a:t>
                      </a:r>
                      <a:r>
                        <a:rPr lang="en-US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: </a:t>
                      </a:r>
                      <a:r>
                        <a:rPr lang="en-GB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1) Monitoring impact of interventions to address immunization inequities (2025, WHO); 2) Addressing Vaccination Backsliding in Rustavi, Gori, and Marneuli (2025, UNICEF, Caritas Czech Republic, Gov. of Korea</a:t>
                      </a: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/>
        </p:nvGraphicFramePr>
        <p:xfrm>
          <a:off x="5610056" y="4794466"/>
          <a:ext cx="4990986" cy="1514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05164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27783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950" i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Ongoing activities: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Targeted catch-up vaccinations among underserved population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Online meetings with public health centers regarding immunization program challenges</a:t>
                      </a:r>
                    </a:p>
                    <a:p>
                      <a:pPr marL="136525" marR="0" lvl="0" indent="-136525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Immunization program monitoring in the selected districts</a:t>
                      </a:r>
                    </a:p>
                    <a:p>
                      <a:pPr marL="136525" marR="0" lvl="0" indent="-136525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Medical personnel capacity building (trainings, job-aids)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Dissemination of educational video and other materials in health facilities                                                  to raise public awareness</a:t>
                      </a:r>
                      <a:r>
                        <a:rPr lang="en-GB" sz="950" i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                             </a:t>
                      </a:r>
                      <a:endParaRPr lang="en-GB" sz="950" i="1" kern="1200" dirty="0">
                        <a:solidFill>
                          <a:srgbClr val="FF0000"/>
                        </a:solidFill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49772DD-C6F2-5473-7F20-E852607B7D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3016" y="50748"/>
            <a:ext cx="1282073" cy="8488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C48443-91D4-749E-283F-883DB11B93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2122" y="1052537"/>
            <a:ext cx="3949531" cy="25193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1649058-F734-4E05-563D-DE75AF465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09569" y="6151848"/>
            <a:ext cx="676110" cy="6726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99A217-9531-5612-5A5A-CCF36A91AAAD}"/>
              </a:ext>
            </a:extLst>
          </p:cNvPr>
          <p:cNvSpPr txBox="1"/>
          <p:nvPr/>
        </p:nvSpPr>
        <p:spPr>
          <a:xfrm>
            <a:off x="6647080" y="6508200"/>
            <a:ext cx="10567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</a:pPr>
            <a:r>
              <a:rPr lang="en-GB" sz="600" i="1" kern="0" dirty="0">
                <a:solidFill>
                  <a:srgbClr val="1070B8"/>
                </a:solidFill>
                <a:latin typeface="Arial"/>
                <a:cs typeface="Arial"/>
                <a:sym typeface="Arial"/>
              </a:rPr>
              <a:t>L</a:t>
            </a:r>
            <a:r>
              <a:rPr lang="en-GE" sz="600" i="1" kern="0" dirty="0">
                <a:solidFill>
                  <a:srgbClr val="1070B8"/>
                </a:solidFill>
                <a:latin typeface="Arial"/>
                <a:cs typeface="Arial"/>
                <a:sym typeface="Arial"/>
              </a:rPr>
              <a:t>ink to educational video</a:t>
            </a:r>
          </a:p>
        </p:txBody>
      </p:sp>
    </p:spTree>
    <p:extLst>
      <p:ext uri="{BB962C8B-B14F-4D97-AF65-F5344CB8AC3E}">
        <p14:creationId xmlns:p14="http://schemas.microsoft.com/office/powerpoint/2010/main" val="281480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1566161" y="979110"/>
            <a:ext cx="9059678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Arial"/>
              <a:sym typeface="Arial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86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spcAft>
                <a:spcPts val="125"/>
              </a:spcAft>
              <a:defRPr/>
            </a:pPr>
            <a:r>
              <a:rPr lang="en-US" sz="2200" b="1" dirty="0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Honduras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Sustaining and Strengthening Immunization Coverage </a:t>
            </a:r>
          </a:p>
          <a:p>
            <a:pPr defTabSz="3135376" eaLnBrk="1" hangingPunct="1">
              <a:spcAft>
                <a:spcPts val="125"/>
              </a:spcAft>
              <a:defRPr/>
            </a:pP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in Middle-Income </a:t>
            </a:r>
            <a:r>
              <a:rPr lang="en-US" sz="1200" b="1" kern="0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</a:t>
            </a:r>
            <a:r>
              <a:rPr lang="en-US" sz="1200" b="1" dirty="0" err="1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ountries</a:t>
            </a:r>
            <a:endParaRPr lang="en-US" sz="1200" b="1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defTabSz="3135376" eaLnBrk="1" hangingPunct="1">
              <a:defRPr/>
            </a:pPr>
            <a:r>
              <a:rPr lang="en-US" sz="1200" b="1" i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Tashkent, Uzbekistan, 07-09 October 2025</a:t>
            </a:r>
            <a:endParaRPr lang="en-US" sz="1200" dirty="0">
              <a:solidFill>
                <a:srgbClr val="31323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8" name="Text Box 49">
            <a:extLst>
              <a:ext uri="{FF2B5EF4-FFF2-40B4-BE49-F238E27FC236}">
                <a16:creationId xmlns:a16="http://schemas.microsoft.com/office/drawing/2014/main" id="{CF18C2AD-A5A8-36E2-E957-058905332A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6063" y="161786"/>
            <a:ext cx="1345472" cy="656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3135376" eaLnBrk="1" hangingPunct="1">
              <a:spcBef>
                <a:spcPct val="50000"/>
              </a:spcBef>
              <a:defRPr/>
            </a:pPr>
            <a:r>
              <a:rPr lang="en-US" sz="16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ountry Flag</a:t>
            </a:r>
          </a:p>
          <a:p>
            <a:pPr defTabSz="3135376" eaLnBrk="1" hangingPunct="1">
              <a:spcBef>
                <a:spcPct val="50000"/>
              </a:spcBef>
              <a:defRPr/>
            </a:pPr>
            <a:endParaRPr lang="en-US" sz="571" dirty="0"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1524000" y="6384598"/>
            <a:ext cx="9144001" cy="5031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algn="ctr" defTabSz="914209">
              <a:defRPr/>
            </a:pPr>
            <a:endParaRPr lang="en-US" sz="1786" dirty="0">
              <a:solidFill>
                <a:srgbClr val="F7F7F7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203" y="6396581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2460" y="6404866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/>
        </p:nvGraphicFramePr>
        <p:xfrm>
          <a:off x="5312188" y="993932"/>
          <a:ext cx="5296891" cy="1634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24108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264839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uman resource limitations including high staff turnover and limited technical, operational and leadership capacity at the various levels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he lack of complete and timely information at both individual and population levels hinders effective decision making and strategic planning.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pulation displacement mainly due to migration and social unrest is disrupting healthcare service access and operations.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conomic downturns and political instability have led to reduced financial support, impacting vaccine procurement and distribution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/>
        </p:nvGraphicFramePr>
        <p:xfrm>
          <a:off x="5312187" y="2662904"/>
          <a:ext cx="5296891" cy="2109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85302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824215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raining and capacity building to increase knowledge and capacity, including through strengthening leadership and intra-ministerial coordination. Focus on establishing stable capacity at the EPI and Health Networks Unit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igital information systems and strengthened microplanning at the local level should be fully in place to ensure evidence-based strategic planning and more effective targeting of population with pending immunizations. 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bile units providing door to door vaccination in rural and hard to reach areas to ensure universal access.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ational Action Planning and budget planning considering various components and activities of the immunization program is critical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/>
        </p:nvGraphicFramePr>
        <p:xfrm>
          <a:off x="1582922" y="3813453"/>
          <a:ext cx="3651574" cy="2508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1574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79424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2129470">
                <a:tc>
                  <a:txBody>
                    <a:bodyPr/>
                    <a:lstStyle/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ommunication Strategy involving high political level was very successful in engaging society and mobilizing partners and community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bile brigades for vaccination during the COVID-19 pandemic were very successful in reaching target population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jects supported and engaging partners very important, including World Bank Reshape project, PAHO microplanning, and UNICEF communication strategy and cold chain inventory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/>
        </p:nvGraphicFramePr>
        <p:xfrm>
          <a:off x="5312187" y="4805203"/>
          <a:ext cx="5296891" cy="1517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689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93556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223588">
                <a:tc>
                  <a:txBody>
                    <a:bodyPr/>
                    <a:lstStyle/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ortance of well-structured communication strategy with strong political support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teragency coordination and communication can be enhanced to optimize partner engagement and communication with country teams.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ITAG well structured and involved in technical decision-making process based in evidence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76E6DFA7-58B6-0DD2-5A19-9FE7A0C1A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2921" y="983543"/>
            <a:ext cx="3651574" cy="2767660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EB884EB-2DD8-6515-C48F-7A6A840DB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063" y="159531"/>
            <a:ext cx="1371600" cy="68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lt2"/>
        </a:soli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"/>
          <p:cNvSpPr/>
          <p:nvPr/>
        </p:nvSpPr>
        <p:spPr>
          <a:xfrm>
            <a:off x="1558103" y="1010402"/>
            <a:ext cx="9083160" cy="5364034"/>
          </a:xfrm>
          <a:prstGeom prst="rect">
            <a:avLst/>
          </a:prstGeom>
          <a:solidFill>
            <a:srgbClr val="1070B8"/>
          </a:solidFill>
          <a:ln w="76200" cap="flat" cmpd="sng">
            <a:solidFill>
              <a:srgbClr val="1070B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7F7F7"/>
              </a:buClr>
              <a:buSzPts val="1786"/>
            </a:pPr>
            <a:endParaRPr sz="1786" kern="0">
              <a:solidFill>
                <a:srgbClr val="F7F7F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1"/>
          <p:cNvSpPr txBox="1"/>
          <p:nvPr/>
        </p:nvSpPr>
        <p:spPr>
          <a:xfrm>
            <a:off x="1786202" y="1011"/>
            <a:ext cx="8540700" cy="9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25" tIns="9500" rIns="19025" bIns="9500" anchor="t" anchorCtr="0">
            <a:spAutoFit/>
          </a:bodyPr>
          <a:lstStyle/>
          <a:p>
            <a:pPr algn="ctr">
              <a:buClr>
                <a:srgbClr val="1070B8"/>
              </a:buClr>
              <a:buSzPts val="2200"/>
            </a:pPr>
            <a:r>
              <a:rPr lang="en-US" sz="2200" b="1" kern="0" dirty="0">
                <a:solidFill>
                  <a:srgbClr val="1070B8"/>
                </a:solidFill>
                <a:latin typeface="Poppins"/>
                <a:ea typeface="Poppins"/>
                <a:cs typeface="Poppins"/>
                <a:sym typeface="Poppins"/>
              </a:rPr>
              <a:t>Indonesia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kern="0" dirty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Sustaining and Strengthening Immunization Coverage 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kern="0" dirty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in Middle-Income Countries</a:t>
            </a:r>
            <a:endParaRPr sz="1200" b="1" kern="0" dirty="0">
              <a:solidFill>
                <a:srgbClr val="31323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algn="ctr">
              <a:spcBef>
                <a:spcPts val="125"/>
              </a:spcBef>
              <a:buClr>
                <a:srgbClr val="313231"/>
              </a:buClr>
              <a:buSzPts val="1200"/>
            </a:pPr>
            <a:r>
              <a:rPr lang="en-US" sz="1200" b="1" i="1" kern="0" dirty="0">
                <a:solidFill>
                  <a:srgbClr val="313231"/>
                </a:solidFill>
                <a:latin typeface="Poppins"/>
                <a:ea typeface="Poppins"/>
                <a:cs typeface="Poppins"/>
                <a:sym typeface="Poppins"/>
              </a:rPr>
              <a:t>Tashkent, Uzbekistan, 07-09 October 2025</a:t>
            </a:r>
            <a:endParaRPr sz="1200" kern="0" dirty="0">
              <a:solidFill>
                <a:srgbClr val="31323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4" name="Google Shape;34;p1"/>
          <p:cNvSpPr/>
          <p:nvPr/>
        </p:nvSpPr>
        <p:spPr>
          <a:xfrm>
            <a:off x="1524000" y="6374437"/>
            <a:ext cx="9144000" cy="503121"/>
          </a:xfrm>
          <a:prstGeom prst="rect">
            <a:avLst/>
          </a:prstGeom>
          <a:solidFill>
            <a:schemeClr val="lt2"/>
          </a:solidFill>
          <a:ln>
            <a:noFill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19025" tIns="9500" rIns="19025" bIns="9500" anchor="ctr" anchorCtr="0">
            <a:noAutofit/>
          </a:bodyPr>
          <a:lstStyle/>
          <a:p>
            <a:pPr algn="ctr">
              <a:buClr>
                <a:srgbClr val="F7F7F7"/>
              </a:buClr>
              <a:buSzPts val="1786"/>
            </a:pPr>
            <a:endParaRPr sz="1786" kern="0">
              <a:solidFill>
                <a:srgbClr val="F7F7F7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35" name="Google Shape;35;p1" descr="GAVI_Alliance_Colour_Logo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865099" y="6374437"/>
            <a:ext cx="1142629" cy="4380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oogle Shape;36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948929" y="6404510"/>
            <a:ext cx="1534083" cy="43098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8" name="Google Shape;38;p1"/>
          <p:cNvGraphicFramePr/>
          <p:nvPr/>
        </p:nvGraphicFramePr>
        <p:xfrm>
          <a:off x="5465065" y="2634648"/>
          <a:ext cx="5162558" cy="153384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162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41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50" u="none" strike="noStrike" cap="none" dirty="0">
                          <a:solidFill>
                            <a:schemeClr val="lt1"/>
                          </a:solidFill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Priority needs to optimize coverage (as of 2026)</a:t>
                      </a:r>
                      <a:endParaRPr sz="950" dirty="0"/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1150">
                <a:tc>
                  <a:txBody>
                    <a:bodyPr/>
                    <a:lstStyle/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dvocate local government to allocate budget for immunization program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ngthen HR capacity and multisectoral collaboration, including private sector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veloping multi-year planning for vaccine and logistics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tegrating the immunization registry and vaccine logistics system 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ptimize the implementation of the Sustainable Outreach Services (SOS)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94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          </a:ext>
                          </a:extLst>
                        </a:rPr>
                        <a:t>Improve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"/>
                            </a:ext>
                          </a:extLst>
                        </a:rPr>
                        <a:t> the 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2"/>
                            </a:ext>
                          </a:extLst>
                        </a:rPr>
                        <a:t>adaptation and implementation of immunization communication strategies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3"/>
                            </a:ext>
                          </a:extLst>
                        </a:rPr>
                        <a:t> at subnational level 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9" name="Google Shape;39;p1"/>
          <p:cNvGraphicFramePr/>
          <p:nvPr/>
        </p:nvGraphicFramePr>
        <p:xfrm>
          <a:off x="5465065" y="4207673"/>
          <a:ext cx="5162559" cy="2134018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162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45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Poppins"/>
                        <a:buNone/>
                      </a:pPr>
                      <a:r>
                        <a:rPr lang="en-US" sz="950" b="1" u="none" strike="noStrike" cap="none" dirty="0">
                          <a:solidFill>
                            <a:schemeClr val="lt1"/>
                          </a:solidFill>
                          <a:latin typeface="Poppins" panose="00000500000000000000" pitchFamily="2" charset="0"/>
                          <a:ea typeface="Poppins"/>
                          <a:cs typeface="Poppins" panose="00000500000000000000" pitchFamily="2" charset="0"/>
                          <a:sym typeface="Poppins"/>
                        </a:rPr>
                        <a:t>Approaches implemented</a:t>
                      </a:r>
                      <a:endParaRPr sz="950" b="1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5566">
                <a:tc>
                  <a:txBody>
                    <a:bodyPr/>
                    <a:lstStyle/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●"/>
                      </a:pPr>
                      <a:r>
                        <a:rPr lang="en-US" sz="950" b="0" u="none" strike="noStrike" cap="none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veloped National Im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unization Strategy (NIS) 2025 - 2029 </a:t>
                      </a:r>
                      <a:r>
                        <a:rPr lang="en-US" sz="950" b="0" dirty="0">
                          <a:solidFill>
                            <a:srgbClr val="1070B8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2024-2025)</a:t>
                      </a:r>
                      <a:endParaRPr sz="950" b="0" dirty="0">
                        <a:solidFill>
                          <a:srgbClr val="1070B8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Char char="●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ngoing advocacy and regular monitoring, complemented by incentives through PIRI/PENARI</a:t>
                      </a:r>
                      <a:endParaRPr sz="950" b="0" dirty="0">
                        <a:solidFill>
                          <a:srgbClr val="1070B8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Char char="●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SO engagement to support defaulter tracking and reaching zero dose children through INEY2 initiative (</a:t>
                      </a:r>
                      <a:r>
                        <a:rPr lang="en-US" sz="950" b="0" dirty="0">
                          <a:solidFill>
                            <a:srgbClr val="1070B8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2024 - now)</a:t>
                      </a:r>
                      <a:endParaRPr sz="950" b="0" dirty="0">
                        <a:solidFill>
                          <a:srgbClr val="1070B8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Char char="●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cation strategy implementation, inc. engagement w/ social media influencers and professional organizations to counter misinformation</a:t>
                      </a: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Char char="●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ptimize electronic immunization logistics (SMILE) to ensure real-time visibility of vaccine stocks &amp; storage conditions </a:t>
                      </a:r>
                      <a:r>
                        <a:rPr lang="en-US" sz="950" b="0" dirty="0">
                          <a:solidFill>
                            <a:srgbClr val="1070B8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2023-now)</a:t>
                      </a:r>
                      <a:endParaRPr sz="950" b="0" dirty="0">
                        <a:solidFill>
                          <a:srgbClr val="1070B8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Char char="●"/>
                      </a:pPr>
                      <a:r>
                        <a:rPr lang="en-US" sz="950" b="0" dirty="0">
                          <a:solidFill>
                            <a:srgbClr val="000000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nhance health worker competencies, including in the private sector, through diverse training methods such as in-person training and MOOCs</a:t>
                      </a:r>
                      <a:endParaRPr sz="950" b="0" dirty="0">
                        <a:solidFill>
                          <a:srgbClr val="1070B8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0" name="Google Shape;40;p1"/>
          <p:cNvGraphicFramePr/>
          <p:nvPr/>
        </p:nvGraphicFramePr>
        <p:xfrm>
          <a:off x="1564376" y="3627236"/>
          <a:ext cx="3850056" cy="271445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3850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65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Poppins"/>
                        <a:buNone/>
                      </a:pPr>
                      <a:r>
                        <a:rPr lang="en-US" sz="950" b="1" dirty="0">
                          <a:solidFill>
                            <a:schemeClr val="lt1"/>
                          </a:solidFill>
                          <a:latin typeface="Poppins" panose="00000500000000000000" pitchFamily="2" charset="0"/>
                          <a:ea typeface="Poppins"/>
                          <a:cs typeface="Poppins" panose="00000500000000000000" pitchFamily="2" charset="0"/>
                          <a:sym typeface="Poppins"/>
                        </a:rPr>
                        <a:t>Successes and lessons learned</a:t>
                      </a:r>
                      <a:endParaRPr sz="950" b="1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8300">
                <a:tc>
                  <a:txBody>
                    <a:bodyPr/>
                    <a:lstStyle/>
                    <a:p>
                      <a:pPr marL="285750" marR="0" lvl="0" indent="-2730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istricts that conducted detailed costing and resource mapping were better able to align partner support and mobilize local funds for outreach and service delivery.</a:t>
                      </a:r>
                      <a:endParaRPr sz="950" b="0" dirty="0">
                        <a:solidFill>
                          <a:srgbClr val="596568"/>
                        </a:solidFill>
                        <a:latin typeface="Poppins" panose="00000500000000000000" pitchFamily="2" charset="0"/>
                        <a:ea typeface="Poppins"/>
                        <a:cs typeface="Poppins" panose="00000500000000000000" pitchFamily="2" charset="0"/>
                        <a:sym typeface="Poppins"/>
                      </a:endParaRPr>
                    </a:p>
                    <a:p>
                      <a:pPr marL="285750" marR="0" lvl="0" indent="-2730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ngaging health cadres, PKK (Family Welfare Movement), and community/religious leaders, and other local partners proved effective in rebuilding trust and increasing community acceptance in hesitant or underserved areas.</a:t>
                      </a:r>
                      <a:endParaRPr sz="950" b="0" dirty="0">
                        <a:solidFill>
                          <a:srgbClr val="596568"/>
                        </a:solidFill>
                        <a:latin typeface="Poppins" panose="00000500000000000000" pitchFamily="2" charset="0"/>
                        <a:ea typeface="Poppins"/>
                        <a:cs typeface="Poppins" panose="00000500000000000000" pitchFamily="2" charset="0"/>
                        <a:sym typeface="Poppins"/>
                      </a:endParaRPr>
                    </a:p>
                    <a:p>
                      <a:pPr marL="285750" marR="0" lvl="0" indent="-2730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eer-to-peer exchanges across districts enabled practical learning and adaptation of successful approaches, especially in areas with similar geographic or demographic profiles.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730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IRI/PENARI has administered over 1 million doses of catch-up immunizations across two rounds in 2025 (May and August), with an additional round planned for November.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1" name="Google Shape;41;p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865098" y="6146"/>
            <a:ext cx="13716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Google Shape;42;p1"/>
          <p:cNvPicPr preferRelativeResize="0"/>
          <p:nvPr/>
        </p:nvPicPr>
        <p:blipFill>
          <a:blip r:embed="rId6">
            <a:alphaModFix/>
          </a:blip>
          <a:srcRect l="-1095" t="-1216" r="1095" b="1216"/>
          <a:stretch>
            <a:fillRect/>
          </a:stretch>
        </p:blipFill>
        <p:spPr>
          <a:xfrm>
            <a:off x="1601372" y="1062138"/>
            <a:ext cx="3753965" cy="24950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37" name="Google Shape;37;p1"/>
          <p:cNvGraphicFramePr/>
          <p:nvPr/>
        </p:nvGraphicFramePr>
        <p:xfrm>
          <a:off x="5465065" y="1021674"/>
          <a:ext cx="5162558" cy="15737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162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1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50" u="none" strike="noStrike" cap="none" dirty="0">
                          <a:solidFill>
                            <a:schemeClr val="lt1"/>
                          </a:solidFill>
                          <a:latin typeface="Poppins" panose="00000500000000000000" pitchFamily="2" charset="0"/>
                          <a:ea typeface="Poppins"/>
                          <a:cs typeface="Poppins" panose="00000500000000000000" pitchFamily="2" charset="0"/>
                          <a:sym typeface="Poppins"/>
                        </a:rPr>
                        <a:t>Priority drivers of persistent coverage challenges</a:t>
                      </a:r>
                      <a:endParaRPr sz="95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5400">
                <a:tc>
                  <a:txBody>
                    <a:bodyPr/>
                    <a:lstStyle/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Governance &amp; Leadership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Multisectoral coordination remains suboptimal, particularly in reaching remote and hard-to-reach areas.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Financing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Limited budget to support programming, esp. at subnational level </a:t>
                      </a:r>
                      <a:endParaRPr sz="950" b="0" u="none" strike="noStrike" cap="none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uman Resources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High turnover, uneven capacity, unequal distribution, and multiple roles among health workers</a:t>
                      </a:r>
                      <a:endParaRPr sz="950" b="0" u="none" strike="noStrike" cap="none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rvice Delivery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Sub- optimal integration with other programs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accine and logistics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Interrupted vaccine supply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285750" marR="0" lvl="0" indent="-2921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en-US" sz="950" b="0" u="sng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ata and Information</a:t>
                      </a:r>
                      <a:r>
                        <a:rPr lang="en-US" sz="950" b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: RR transition from manual to digital, vaccine hesitancy </a:t>
                      </a:r>
                      <a:endParaRPr sz="950" b="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1450" marR="91450" marT="45725" marB="45725">
                    <a:solidFill>
                      <a:srgbClr val="E4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ked_Blue_2022">
  <a:themeElements>
    <a:clrScheme name="Custom 10">
      <a:dk1>
        <a:srgbClr val="313233"/>
      </a:dk1>
      <a:lt1>
        <a:srgbClr val="FFFFFF"/>
      </a:lt1>
      <a:dk2>
        <a:srgbClr val="313233"/>
      </a:dk2>
      <a:lt2>
        <a:srgbClr val="FFFFFF"/>
      </a:lt2>
      <a:accent1>
        <a:srgbClr val="1070B8"/>
      </a:accent1>
      <a:accent2>
        <a:srgbClr val="13A89E"/>
      </a:accent2>
      <a:accent3>
        <a:srgbClr val="50AED6"/>
      </a:accent3>
      <a:accent4>
        <a:srgbClr val="39A962"/>
      </a:accent4>
      <a:accent5>
        <a:srgbClr val="666666"/>
      </a:accent5>
      <a:accent6>
        <a:srgbClr val="EF5B03"/>
      </a:accent6>
      <a:hlink>
        <a:srgbClr val="1070B8"/>
      </a:hlink>
      <a:folHlink>
        <a:srgbClr val="13A89E"/>
      </a:folHlink>
    </a:clrScheme>
    <a:fontScheme name="Custom 1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4D PowerPoint Template" id="{5A079F09-AB7A-4D69-B352-EE37D95DFAFE}" vid="{9382E6BB-BF34-47B1-947A-7B9073643827}"/>
    </a:ext>
  </a:extLst>
</a:theme>
</file>

<file path=ppt/theme/theme2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Annette Ozaltin</DisplayName>
        <AccountId>18</AccountId>
        <AccountType/>
      </UserInfo>
      <UserInfo>
        <DisplayName>Elizabeth Ohadi</DisplayName>
        <AccountId>13</AccountId>
        <AccountType/>
      </UserInfo>
      <UserInfo>
        <DisplayName>Leah List</DisplayName>
        <AccountId>1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A9B6DD-CB1D-466E-B801-9E8DD5634E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44C96D-306F-431B-823E-721AE4113A45}">
  <ds:schemaRefs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bcb27da4-2e3e-416a-a040-6d0b2e3a2039"/>
    <ds:schemaRef ds:uri="http://schemas.microsoft.com/office/infopath/2007/PartnerControls"/>
    <ds:schemaRef ds:uri="a6b7a42b-578f-4fd1-9d67-5a3066b9c5a5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37963BA-3110-44C4-A6D6-44DDB69B39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3136</Words>
  <Application>Microsoft Office PowerPoint</Application>
  <PresentationFormat>Widescreen</PresentationFormat>
  <Paragraphs>307</Paragraphs>
  <Slides>2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ptos Display</vt:lpstr>
      <vt:lpstr>Arial</vt:lpstr>
      <vt:lpstr>Calibri</vt:lpstr>
      <vt:lpstr>Museo Sans 300</vt:lpstr>
      <vt:lpstr>Museo Slab 300</vt:lpstr>
      <vt:lpstr>Noto Sans Symbols</vt:lpstr>
      <vt:lpstr>Poppins</vt:lpstr>
      <vt:lpstr>Poppins Medium</vt:lpstr>
      <vt:lpstr>Poppins SemiBold</vt:lpstr>
      <vt:lpstr>Poppins Semi-Bold</vt:lpstr>
      <vt:lpstr>Wingdings</vt:lpstr>
      <vt:lpstr>Linked_Blue_2022</vt:lpstr>
      <vt:lpstr>R4D_StandardTemplate_MAC</vt:lpstr>
      <vt:lpstr>think-cell Slide</vt:lpstr>
      <vt:lpstr>Gavi-Linked Learning Forum:  Sustaining and Strengthening  Immunisation Coverage</vt:lpstr>
      <vt:lpstr>Welcome</vt:lpstr>
      <vt:lpstr>PowerPoint Presentation</vt:lpstr>
      <vt:lpstr>PowerPoint Presentation</vt:lpstr>
      <vt:lpstr>Session 1:  Country Introduc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ster Walk</vt:lpstr>
      <vt:lpstr>Poster Walk</vt:lpstr>
      <vt:lpstr>Lunch</vt:lpstr>
      <vt:lpstr>Icebreaker</vt:lpstr>
      <vt:lpstr>Session 2:  Enablers and Barriers</vt:lpstr>
      <vt:lpstr>Understanding to what extent interventions and support to improve coverage have been successful  – why or why not –  and what can we learn from these successes and failures about the needs of countries going forward </vt:lpstr>
      <vt:lpstr>Understanding to what extent interventions and support to improve coverage have been successful   </vt:lpstr>
      <vt:lpstr>Task #1</vt:lpstr>
      <vt:lpstr>Understanding to what extent interventions and support to improve coverage have been successful  – why or why not –   </vt:lpstr>
      <vt:lpstr>Task #2</vt:lpstr>
      <vt:lpstr>Enablers &amp; barriers</vt:lpstr>
      <vt:lpstr>PowerPoint Presentation</vt:lpstr>
      <vt:lpstr>Discussion</vt:lpstr>
      <vt:lpstr>Daily Refle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ked Immunisation Action Network Presentation Template</dc:title>
  <dc:creator>Christina Shaw</dc:creator>
  <cp:lastModifiedBy>Olivia  Talbert</cp:lastModifiedBy>
  <cp:revision>3</cp:revision>
  <dcterms:created xsi:type="dcterms:W3CDTF">2022-02-07T18:36:26Z</dcterms:created>
  <dcterms:modified xsi:type="dcterms:W3CDTF">2025-10-07T03:1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